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9"/>
  </p:notesMasterIdLst>
  <p:sldIdLst>
    <p:sldId id="256" r:id="rId2"/>
    <p:sldId id="331" r:id="rId3"/>
    <p:sldId id="332" r:id="rId4"/>
    <p:sldId id="291" r:id="rId5"/>
    <p:sldId id="299" r:id="rId6"/>
    <p:sldId id="337" r:id="rId7"/>
    <p:sldId id="304" r:id="rId8"/>
  </p:sldIdLst>
  <p:sldSz cx="12192000" cy="6858000"/>
  <p:notesSz cx="6797675" cy="9928225"/>
  <p:defaultTextStyle>
    <a:defPPr lvl="0">
      <a:defRPr lang="en-US"/>
    </a:defPPr>
    <a:lvl1pPr marL="0" lv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lvl="1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lvl="2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lvl="3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lvl="4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lvl="5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lvl="6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lvl="7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lvl="8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pos="3863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ABC48"/>
    <a:srgbClr val="6C00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90651C3A-4460-11DB-9652-00E08161165F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63" d="100"/>
          <a:sy n="163" d="100"/>
        </p:scale>
        <p:origin x="-2244" y="-108"/>
      </p:cViewPr>
      <p:guideLst>
        <p:guide orient="horz" pos="2160"/>
        <p:guide pos="386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9A7666-4763-4425-808A-9872B13B0B2E}" type="datetimeFigureOut">
              <a:rPr lang="en-US" smtClean="0"/>
              <a:t>2/18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5D1DA0-BDB5-4912-8006-1CBDB6CADC8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2452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5D1DA0-BDB5-4912-8006-1CBDB6CADC83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83045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24486B30-2524-4688-B712-DC2A1F6DC76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95227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A05A422D-FFDC-49EA-BF88-35392EA9342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8150" y="481693"/>
            <a:ext cx="8305800" cy="571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1">
                <a:solidFill>
                  <a:schemeClr val="tx1">
                    <a:lumMod val="85000"/>
                    <a:lumOff val="1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Insert Text Her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xmlns="" id="{F466B2AE-9328-4F36-A069-0499B9FDF50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8150" y="995138"/>
            <a:ext cx="8305800" cy="25309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5868829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11362795" y="6309320"/>
            <a:ext cx="589856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19B0651-EE4F-4900-A07F-96A6BFA9D0F0}" type="slidenum">
              <a:rPr kumimoji="0" lang="ru-RU" sz="728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728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13006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88550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41" t="2672" r="13010" b="29225"/>
          <a:stretch/>
        </p:blipFill>
        <p:spPr>
          <a:xfrm>
            <a:off x="-84308" y="0"/>
            <a:ext cx="12276308" cy="6945549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-84308" y="-1"/>
            <a:ext cx="12276308" cy="6945549"/>
          </a:xfrm>
          <a:prstGeom prst="rect">
            <a:avLst/>
          </a:prstGeom>
          <a:solidFill>
            <a:schemeClr val="tx1">
              <a:alpha val="2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xmlns="" id="{07DC1CCA-FA40-490A-94D9-4B77EB7C11C9}"/>
              </a:ext>
            </a:extLst>
          </p:cNvPr>
          <p:cNvSpPr/>
          <p:nvPr/>
        </p:nvSpPr>
        <p:spPr>
          <a:xfrm flipV="1">
            <a:off x="1779638" y="0"/>
            <a:ext cx="9002756" cy="5061098"/>
          </a:xfrm>
          <a:custGeom>
            <a:avLst/>
            <a:gdLst>
              <a:gd name="connsiteX0" fmla="*/ 0 w 7877537"/>
              <a:gd name="connsiteY0" fmla="*/ 4446361 h 4446361"/>
              <a:gd name="connsiteX1" fmla="*/ 7858246 w 7877537"/>
              <a:gd name="connsiteY1" fmla="*/ 4446361 h 4446361"/>
              <a:gd name="connsiteX2" fmla="*/ 7858246 w 7877537"/>
              <a:gd name="connsiteY2" fmla="*/ 655416 h 4446361"/>
              <a:gd name="connsiteX3" fmla="*/ 7877537 w 7877537"/>
              <a:gd name="connsiteY3" fmla="*/ 655416 h 4446361"/>
              <a:gd name="connsiteX4" fmla="*/ 3948414 w 7877537"/>
              <a:gd name="connsiteY4" fmla="*/ 0 h 4446361"/>
              <a:gd name="connsiteX5" fmla="*/ 19291 w 7877537"/>
              <a:gd name="connsiteY5" fmla="*/ 655416 h 4446361"/>
              <a:gd name="connsiteX6" fmla="*/ 0 w 7877537"/>
              <a:gd name="connsiteY6" fmla="*/ 655416 h 44463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877537" h="4446361">
                <a:moveTo>
                  <a:pt x="0" y="4446361"/>
                </a:moveTo>
                <a:lnTo>
                  <a:pt x="7858246" y="4446361"/>
                </a:lnTo>
                <a:lnTo>
                  <a:pt x="7858246" y="655416"/>
                </a:lnTo>
                <a:lnTo>
                  <a:pt x="7877537" y="655416"/>
                </a:lnTo>
                <a:lnTo>
                  <a:pt x="3948414" y="0"/>
                </a:lnTo>
                <a:lnTo>
                  <a:pt x="19291" y="655416"/>
                </a:lnTo>
                <a:lnTo>
                  <a:pt x="0" y="65541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6395" y="-101404"/>
            <a:ext cx="1992235" cy="1992235"/>
          </a:xfrm>
          <a:prstGeom prst="rect">
            <a:avLst/>
          </a:prstGeom>
        </p:spPr>
      </p:pic>
      <p:sp>
        <p:nvSpPr>
          <p:cNvPr id="2" name="Text Placeholder 41">
            <a:extLst>
              <a:ext uri="{FF2B5EF4-FFF2-40B4-BE49-F238E27FC236}">
                <a16:creationId xmlns:a16="http://schemas.microsoft.com/office/drawing/2014/main" xmlns="" id="{EEB572CE-A086-4142-8CBE-39352C2C4377}"/>
              </a:ext>
            </a:extLst>
          </p:cNvPr>
          <p:cNvSpPr txBox="1">
            <a:spLocks/>
          </p:cNvSpPr>
          <p:nvPr/>
        </p:nvSpPr>
        <p:spPr>
          <a:xfrm>
            <a:off x="4188633" y="3924111"/>
            <a:ext cx="4184765" cy="57150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ru-RU" sz="3200" spc="600" dirty="0">
                <a:solidFill>
                  <a:schemeClr val="tx2">
                    <a:lumMod val="60000"/>
                    <a:lumOff val="40000"/>
                  </a:schemeClr>
                </a:solidFill>
                <a:latin typeface="Trebuchet MS" panose="020B0603020202020204" pitchFamily="34" charset="0"/>
              </a:rPr>
              <a:t>Росстат</a:t>
            </a:r>
            <a:endParaRPr lang="en-US" sz="3200" spc="600" dirty="0">
              <a:solidFill>
                <a:schemeClr val="tx2">
                  <a:lumMod val="60000"/>
                  <a:lumOff val="4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4" name="Text Placeholder 41">
            <a:extLst>
              <a:ext uri="{FF2B5EF4-FFF2-40B4-BE49-F238E27FC236}">
                <a16:creationId xmlns:a16="http://schemas.microsoft.com/office/drawing/2014/main" xmlns="" id="{2A332DAF-08E8-4AF4-B70C-46AAEF173334}"/>
              </a:ext>
            </a:extLst>
          </p:cNvPr>
          <p:cNvSpPr txBox="1">
            <a:spLocks/>
          </p:cNvSpPr>
          <p:nvPr/>
        </p:nvSpPr>
        <p:spPr>
          <a:xfrm>
            <a:off x="2198628" y="1522802"/>
            <a:ext cx="8294304" cy="93906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4800" b="1" spc="600" dirty="0" smtClean="0">
                <a:latin typeface="+mj-lt"/>
              </a:rPr>
              <a:t>Цифровая трансформация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4800" b="1" spc="600" dirty="0" err="1" smtClean="0">
                <a:latin typeface="+mj-lt"/>
              </a:rPr>
              <a:t>госстатистики</a:t>
            </a:r>
            <a:endParaRPr lang="en-US" sz="4800" b="1" spc="6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2487233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145763F1-9C07-4FF8-8F62-15A808A4660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77282" y="147370"/>
            <a:ext cx="11036095" cy="571500"/>
          </a:xfrm>
        </p:spPr>
        <p:txBody>
          <a:bodyPr/>
          <a:lstStyle/>
          <a:p>
            <a:r>
              <a:rPr lang="ru-RU" sz="3200" dirty="0" smtClean="0"/>
              <a:t>Показатели и потребители статистической информации</a:t>
            </a:r>
            <a:endParaRPr lang="en-US" sz="3200" dirty="0"/>
          </a:p>
        </p:txBody>
      </p:sp>
      <p:grpSp>
        <p:nvGrpSpPr>
          <p:cNvPr id="137" name="Group 1">
            <a:extLst>
              <a:ext uri="{FF2B5EF4-FFF2-40B4-BE49-F238E27FC236}">
                <a16:creationId xmlns:a16="http://schemas.microsoft.com/office/drawing/2014/main" xmlns="" id="{BA8B935E-2AF1-499A-A51D-C3703758B62B}"/>
              </a:ext>
            </a:extLst>
          </p:cNvPr>
          <p:cNvGrpSpPr/>
          <p:nvPr/>
        </p:nvGrpSpPr>
        <p:grpSpPr>
          <a:xfrm>
            <a:off x="87702" y="49350"/>
            <a:ext cx="1198881" cy="1198881"/>
            <a:chOff x="5496559" y="1760636"/>
            <a:chExt cx="1198881" cy="1198881"/>
          </a:xfrm>
        </p:grpSpPr>
        <p:sp>
          <p:nvSpPr>
            <p:cNvPr id="138" name="Rectangle 61">
              <a:extLst>
                <a:ext uri="{FF2B5EF4-FFF2-40B4-BE49-F238E27FC236}">
                  <a16:creationId xmlns:a16="http://schemas.microsoft.com/office/drawing/2014/main" xmlns="" id="{5729ACDC-309D-439B-993A-3287CFF3FF98}"/>
                </a:ext>
              </a:extLst>
            </p:cNvPr>
            <p:cNvSpPr/>
            <p:nvPr/>
          </p:nvSpPr>
          <p:spPr>
            <a:xfrm>
              <a:off x="5496559" y="1760636"/>
              <a:ext cx="1198881" cy="1198881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9" name="Rectangle 62">
              <a:extLst>
                <a:ext uri="{FF2B5EF4-FFF2-40B4-BE49-F238E27FC236}">
                  <a16:creationId xmlns:a16="http://schemas.microsoft.com/office/drawing/2014/main" xmlns="" id="{74F48997-2305-472A-B037-DE580EA0DD64}"/>
                </a:ext>
              </a:extLst>
            </p:cNvPr>
            <p:cNvSpPr/>
            <p:nvPr/>
          </p:nvSpPr>
          <p:spPr>
            <a:xfrm>
              <a:off x="5673447" y="1975355"/>
              <a:ext cx="845103" cy="76944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4400" b="1" dirty="0" smtClean="0">
                  <a:solidFill>
                    <a:schemeClr val="bg1"/>
                  </a:solidFill>
                  <a:latin typeface="Trebuchet MS" panose="020B0603020202020204" pitchFamily="34" charset="0"/>
                </a:rPr>
                <a:t>0</a:t>
              </a:r>
              <a:r>
                <a:rPr lang="ru-RU" sz="4400" b="1" dirty="0" smtClean="0">
                  <a:solidFill>
                    <a:schemeClr val="bg1"/>
                  </a:solidFill>
                  <a:latin typeface="Trebuchet MS" panose="020B0603020202020204" pitchFamily="34" charset="0"/>
                </a:rPr>
                <a:t>2</a:t>
              </a:r>
              <a:endParaRPr lang="en-US" sz="4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66" name="object 18">
            <a:extLst>
              <a:ext uri="{FF2B5EF4-FFF2-40B4-BE49-F238E27FC236}">
                <a16:creationId xmlns:a16="http://schemas.microsoft.com/office/drawing/2014/main" xmlns="" id="{68E4AB2D-1C0A-4A20-A97F-48FFF4E09629}"/>
              </a:ext>
            </a:extLst>
          </p:cNvPr>
          <p:cNvSpPr txBox="1"/>
          <p:nvPr/>
        </p:nvSpPr>
        <p:spPr>
          <a:xfrm>
            <a:off x="310003" y="3541419"/>
            <a:ext cx="6523415" cy="33575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2400" b="1" dirty="0">
                <a:solidFill>
                  <a:srgbClr val="334286"/>
                </a:solidFill>
                <a:latin typeface="+mj-lt"/>
                <a:cs typeface="Arial" panose="020B0604020202020204" pitchFamily="34" charset="0"/>
              </a:rPr>
              <a:t>Оперативная информация направляется:</a:t>
            </a:r>
          </a:p>
        </p:txBody>
      </p:sp>
      <p:cxnSp>
        <p:nvCxnSpPr>
          <p:cNvPr id="167" name="Прямая соединительная линия 166"/>
          <p:cNvCxnSpPr/>
          <p:nvPr/>
        </p:nvCxnSpPr>
        <p:spPr>
          <a:xfrm>
            <a:off x="333146" y="3932353"/>
            <a:ext cx="5498311" cy="0"/>
          </a:xfrm>
          <a:prstGeom prst="line">
            <a:avLst/>
          </a:prstGeom>
          <a:ln w="38100">
            <a:solidFill>
              <a:srgbClr val="33428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Прямоугольник 167">
            <a:extLst>
              <a:ext uri="{FF2B5EF4-FFF2-40B4-BE49-F238E27FC236}">
                <a16:creationId xmlns:a16="http://schemas.microsoft.com/office/drawing/2014/main" xmlns="" id="{310A0B60-685D-47C5-BA4E-37EF1A416466}"/>
              </a:ext>
            </a:extLst>
          </p:cNvPr>
          <p:cNvSpPr/>
          <p:nvPr/>
        </p:nvSpPr>
        <p:spPr>
          <a:xfrm>
            <a:off x="7629829" y="1735791"/>
            <a:ext cx="3929125" cy="15286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4150" indent="-171450">
              <a:lnSpc>
                <a:spcPct val="150000"/>
              </a:lnSpc>
              <a:spcBef>
                <a:spcPts val="170"/>
              </a:spcBef>
              <a:buClr>
                <a:srgbClr val="334286"/>
              </a:buClr>
              <a:buFont typeface="Wingdings" panose="05000000000000000000" pitchFamily="2" charset="2"/>
              <a:buChar char="§"/>
            </a:pP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anose="020B0604020202020204" pitchFamily="34" charset="0"/>
              </a:rPr>
              <a:t>ежедневно в 51 адрес</a:t>
            </a:r>
          </a:p>
          <a:p>
            <a:pPr marL="184150" indent="-171450">
              <a:lnSpc>
                <a:spcPct val="150000"/>
              </a:lnSpc>
              <a:spcBef>
                <a:spcPts val="170"/>
              </a:spcBef>
              <a:buClr>
                <a:srgbClr val="334286"/>
              </a:buClr>
              <a:buFont typeface="Wingdings" panose="05000000000000000000" pitchFamily="2" charset="2"/>
              <a:buChar char="§"/>
            </a:pP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anose="020B0604020202020204" pitchFamily="34" charset="0"/>
              </a:rPr>
              <a:t>ежемесячно &gt;130 адресов </a:t>
            </a:r>
          </a:p>
          <a:p>
            <a:pPr marL="184150" indent="-171450">
              <a:lnSpc>
                <a:spcPct val="150000"/>
              </a:lnSpc>
              <a:spcBef>
                <a:spcPts val="170"/>
              </a:spcBef>
              <a:buClr>
                <a:srgbClr val="334286"/>
              </a:buClr>
              <a:buFont typeface="Wingdings" panose="05000000000000000000" pitchFamily="2" charset="2"/>
              <a:buChar char="§"/>
            </a:pP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anose="020B0604020202020204" pitchFamily="34" charset="0"/>
              </a:rPr>
              <a:t>сборники &gt;300 адресов</a:t>
            </a:r>
          </a:p>
        </p:txBody>
      </p:sp>
      <p:sp>
        <p:nvSpPr>
          <p:cNvPr id="169" name="Прямоугольник 168">
            <a:extLst>
              <a:ext uri="{FF2B5EF4-FFF2-40B4-BE49-F238E27FC236}">
                <a16:creationId xmlns:a16="http://schemas.microsoft.com/office/drawing/2014/main" xmlns="" id="{DB26E57B-DD07-406C-8D88-09BDA9E94D40}"/>
              </a:ext>
            </a:extLst>
          </p:cNvPr>
          <p:cNvSpPr/>
          <p:nvPr/>
        </p:nvSpPr>
        <p:spPr>
          <a:xfrm>
            <a:off x="225421" y="3885390"/>
            <a:ext cx="11966579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buClr>
                <a:srgbClr val="334286"/>
              </a:buClr>
              <a:buFont typeface="Wingdings" panose="05000000000000000000" pitchFamily="2" charset="2"/>
              <a:buChar char="§"/>
            </a:pP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anose="020B0604020202020204" pitchFamily="34" charset="0"/>
              </a:rPr>
              <a:t>Макроэкономический прогноз </a:t>
            </a:r>
            <a:r>
              <a:rPr lang="ru-RU" sz="2000" dirty="0">
                <a:solidFill>
                  <a:srgbClr val="334286"/>
                </a:solidFill>
                <a:latin typeface="+mj-lt"/>
                <a:cs typeface="Arial" panose="020B0604020202020204" pitchFamily="34" charset="0"/>
              </a:rPr>
              <a:t>→ </a:t>
            </a:r>
            <a:r>
              <a:rPr lang="en-US" sz="2000" b="1" dirty="0">
                <a:solidFill>
                  <a:srgbClr val="334286"/>
                </a:solidFill>
                <a:latin typeface="+mj-lt"/>
                <a:cs typeface="Arial" panose="020B0604020202020204" pitchFamily="34" charset="0"/>
              </a:rPr>
              <a:t>100</a:t>
            </a:r>
            <a:r>
              <a:rPr lang="ru-RU" sz="2000" b="1" dirty="0">
                <a:solidFill>
                  <a:srgbClr val="334286"/>
                </a:solidFill>
                <a:latin typeface="+mj-lt"/>
                <a:cs typeface="Arial" panose="020B0604020202020204" pitchFamily="34" charset="0"/>
              </a:rPr>
              <a:t> показателей</a:t>
            </a:r>
          </a:p>
          <a:p>
            <a:pPr marL="171450" indent="-171450">
              <a:lnSpc>
                <a:spcPct val="150000"/>
              </a:lnSpc>
              <a:buClr>
                <a:srgbClr val="334286"/>
              </a:buClr>
              <a:buFont typeface="Wingdings" panose="05000000000000000000" pitchFamily="2" charset="2"/>
              <a:buChar char="§"/>
            </a:pP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anose="020B0604020202020204" pitchFamily="34" charset="0"/>
              </a:rPr>
              <a:t>Разработка и исполнение бюджета </a:t>
            </a:r>
            <a:r>
              <a:rPr lang="ru-RU" sz="2000" dirty="0">
                <a:solidFill>
                  <a:srgbClr val="334286"/>
                </a:solidFill>
                <a:latin typeface="+mj-lt"/>
                <a:cs typeface="Arial" panose="020B0604020202020204" pitchFamily="34" charset="0"/>
              </a:rPr>
              <a:t>→ </a:t>
            </a:r>
            <a:r>
              <a:rPr lang="ru-RU" sz="2000" b="1" dirty="0">
                <a:solidFill>
                  <a:srgbClr val="334286"/>
                </a:solidFill>
                <a:latin typeface="+mj-lt"/>
                <a:cs typeface="Arial" panose="020B0604020202020204" pitchFamily="34" charset="0"/>
              </a:rPr>
              <a:t>10 показателей</a:t>
            </a:r>
          </a:p>
          <a:p>
            <a:pPr marL="171450" indent="-171450">
              <a:lnSpc>
                <a:spcPct val="150000"/>
              </a:lnSpc>
              <a:buClr>
                <a:srgbClr val="334286"/>
              </a:buClr>
              <a:buFont typeface="Wingdings" panose="05000000000000000000" pitchFamily="2" charset="2"/>
              <a:buChar char="§"/>
            </a:pP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anose="020B0604020202020204" pitchFamily="34" charset="0"/>
              </a:rPr>
              <a:t>Задание Минфина по межбюджетным отношениям </a:t>
            </a:r>
            <a:r>
              <a:rPr lang="ru-RU" sz="2000" dirty="0">
                <a:solidFill>
                  <a:srgbClr val="334286"/>
                </a:solidFill>
                <a:latin typeface="+mj-lt"/>
                <a:cs typeface="Arial" panose="020B0604020202020204" pitchFamily="34" charset="0"/>
              </a:rPr>
              <a:t>→ </a:t>
            </a:r>
            <a:r>
              <a:rPr lang="ru-RU" sz="2000" b="1" dirty="0">
                <a:solidFill>
                  <a:srgbClr val="334286"/>
                </a:solidFill>
                <a:latin typeface="+mj-lt"/>
                <a:cs typeface="Arial" panose="020B0604020202020204" pitchFamily="34" charset="0"/>
              </a:rPr>
              <a:t>74 показателя</a:t>
            </a:r>
          </a:p>
          <a:p>
            <a:pPr marL="171450" indent="-171450">
              <a:lnSpc>
                <a:spcPct val="150000"/>
              </a:lnSpc>
              <a:buClr>
                <a:srgbClr val="334286"/>
              </a:buClr>
              <a:buFont typeface="Wingdings" panose="05000000000000000000" pitchFamily="2" charset="2"/>
              <a:buChar char="§"/>
            </a:pP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anose="020B0604020202020204" pitchFamily="34" charset="0"/>
              </a:rPr>
              <a:t>О ценах и тарифах для Центрального Банка России </a:t>
            </a:r>
            <a:r>
              <a:rPr lang="ru-RU" sz="2000" dirty="0">
                <a:solidFill>
                  <a:srgbClr val="334286"/>
                </a:solidFill>
                <a:latin typeface="+mj-lt"/>
                <a:cs typeface="Arial" panose="020B0604020202020204" pitchFamily="34" charset="0"/>
              </a:rPr>
              <a:t>→ </a:t>
            </a:r>
            <a:r>
              <a:rPr lang="ru-RU" sz="2000" b="1" dirty="0">
                <a:solidFill>
                  <a:srgbClr val="334286"/>
                </a:solidFill>
                <a:latin typeface="+mj-lt"/>
                <a:cs typeface="Arial" panose="020B0604020202020204" pitchFamily="34" charset="0"/>
              </a:rPr>
              <a:t>21 показатель</a:t>
            </a:r>
            <a:endParaRPr lang="ru-RU" sz="2000" dirty="0">
              <a:solidFill>
                <a:srgbClr val="334286"/>
              </a:solidFill>
              <a:latin typeface="+mj-lt"/>
              <a:cs typeface="Arial" panose="020B0604020202020204" pitchFamily="34" charset="0"/>
            </a:endParaRPr>
          </a:p>
          <a:p>
            <a:pPr marL="171450" indent="-171450">
              <a:lnSpc>
                <a:spcPct val="150000"/>
              </a:lnSpc>
              <a:buClr>
                <a:srgbClr val="334286"/>
              </a:buClr>
              <a:buFont typeface="Wingdings" panose="05000000000000000000" pitchFamily="2" charset="2"/>
              <a:buChar char="§"/>
            </a:pP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anose="020B0604020202020204" pitchFamily="34" charset="0"/>
              </a:rPr>
              <a:t>Федеральная корпорация по развитию малого и среднего предпринимательства  </a:t>
            </a:r>
            <a:r>
              <a:rPr lang="ru-RU" sz="2000" dirty="0">
                <a:solidFill>
                  <a:srgbClr val="334286"/>
                </a:solidFill>
                <a:latin typeface="+mj-lt"/>
                <a:cs typeface="Arial" panose="020B0604020202020204" pitchFamily="34" charset="0"/>
              </a:rPr>
              <a:t>→ </a:t>
            </a:r>
            <a:r>
              <a:rPr lang="ru-RU" sz="2000" b="1" dirty="0">
                <a:solidFill>
                  <a:srgbClr val="334286"/>
                </a:solidFill>
                <a:latin typeface="+mj-lt"/>
                <a:cs typeface="Arial" panose="020B0604020202020204" pitchFamily="34" charset="0"/>
              </a:rPr>
              <a:t>150 показателей</a:t>
            </a:r>
          </a:p>
          <a:p>
            <a:pPr marL="171450" indent="-171450">
              <a:lnSpc>
                <a:spcPct val="150000"/>
              </a:lnSpc>
              <a:buClr>
                <a:srgbClr val="334286"/>
              </a:buClr>
              <a:buFont typeface="Wingdings" panose="05000000000000000000" pitchFamily="2" charset="2"/>
              <a:buChar char="§"/>
            </a:pP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anose="020B0604020202020204" pitchFamily="34" charset="0"/>
              </a:rPr>
              <a:t>Классификаторы для Федерального казначейства </a:t>
            </a:r>
            <a:r>
              <a:rPr lang="ru-RU" sz="2000" dirty="0">
                <a:solidFill>
                  <a:srgbClr val="334286"/>
                </a:solidFill>
                <a:latin typeface="+mj-lt"/>
                <a:cs typeface="Arial" panose="020B0604020202020204" pitchFamily="34" charset="0"/>
              </a:rPr>
              <a:t>→ </a:t>
            </a:r>
            <a:r>
              <a:rPr lang="ru-RU" sz="2000" b="1" dirty="0">
                <a:solidFill>
                  <a:srgbClr val="334286"/>
                </a:solidFill>
                <a:latin typeface="+mj-lt"/>
                <a:cs typeface="Arial" panose="020B0604020202020204" pitchFamily="34" charset="0"/>
              </a:rPr>
              <a:t>7 классификаторов</a:t>
            </a:r>
          </a:p>
        </p:txBody>
      </p:sp>
      <p:sp>
        <p:nvSpPr>
          <p:cNvPr id="171" name="Прямоугольник 170"/>
          <p:cNvSpPr/>
          <p:nvPr/>
        </p:nvSpPr>
        <p:spPr>
          <a:xfrm>
            <a:off x="282387" y="1341230"/>
            <a:ext cx="3480440" cy="164352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lnSpc>
                <a:spcPct val="120000"/>
              </a:lnSpc>
              <a:defRPr/>
            </a:pPr>
            <a:r>
              <a:rPr lang="ru-RU" sz="2800" dirty="0"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Охват статистических </a:t>
            </a:r>
            <a:endParaRPr lang="ru-RU" sz="2800" dirty="0" smtClean="0">
              <a:latin typeface="+mj-lt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  <a:defRPr/>
            </a:pPr>
            <a:r>
              <a:rPr lang="ru-RU" sz="2800" dirty="0" smtClean="0"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обследований </a:t>
            </a:r>
          </a:p>
          <a:p>
            <a:pPr lvl="0">
              <a:lnSpc>
                <a:spcPct val="120000"/>
              </a:lnSpc>
              <a:defRPr/>
            </a:pPr>
            <a:r>
              <a:rPr lang="ru-RU" sz="2800" dirty="0" smtClean="0"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за год </a:t>
            </a:r>
            <a:endParaRPr lang="en-US" sz="2800" dirty="0">
              <a:latin typeface="+mj-lt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73" name="Прямоугольник 172"/>
          <p:cNvSpPr/>
          <p:nvPr/>
        </p:nvSpPr>
        <p:spPr>
          <a:xfrm>
            <a:off x="7682298" y="1063423"/>
            <a:ext cx="2571538" cy="57490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lnSpc>
                <a:spcPct val="120000"/>
              </a:lnSpc>
              <a:defRPr/>
            </a:pPr>
            <a:r>
              <a:rPr lang="ru-RU" sz="2800" b="1" dirty="0">
                <a:solidFill>
                  <a:srgbClr val="334286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Периодичность </a:t>
            </a:r>
            <a:endParaRPr lang="en-US" sz="2800" b="1" dirty="0">
              <a:solidFill>
                <a:srgbClr val="334286"/>
              </a:solidFill>
              <a:latin typeface="+mj-lt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174" name="Прямая соединительная линия 173"/>
          <p:cNvCxnSpPr/>
          <p:nvPr/>
        </p:nvCxnSpPr>
        <p:spPr>
          <a:xfrm>
            <a:off x="7801882" y="1653046"/>
            <a:ext cx="2962145" cy="0"/>
          </a:xfrm>
          <a:prstGeom prst="line">
            <a:avLst/>
          </a:prstGeom>
          <a:ln w="38100">
            <a:solidFill>
              <a:srgbClr val="33428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7" name="Group 42"/>
          <p:cNvGrpSpPr/>
          <p:nvPr/>
        </p:nvGrpSpPr>
        <p:grpSpPr>
          <a:xfrm>
            <a:off x="3762827" y="2235707"/>
            <a:ext cx="2228887" cy="903700"/>
            <a:chOff x="1940480" y="1686991"/>
            <a:chExt cx="2228887" cy="903700"/>
          </a:xfrm>
        </p:grpSpPr>
        <p:sp>
          <p:nvSpPr>
            <p:cNvPr id="178" name="TextBox 177"/>
            <p:cNvSpPr txBox="1"/>
            <p:nvPr/>
          </p:nvSpPr>
          <p:spPr>
            <a:xfrm>
              <a:off x="1940480" y="1686991"/>
              <a:ext cx="1685893" cy="903700"/>
            </a:xfrm>
            <a:prstGeom prst="rect">
              <a:avLst/>
            </a:prstGeom>
            <a:noFill/>
          </p:spPr>
          <p:txBody>
            <a:bodyPr wrap="none" lIns="72000" tIns="36000" rIns="72000" bIns="36000" rtlCol="0" anchor="b">
              <a:spAutoFit/>
            </a:bodyPr>
            <a:lstStyle/>
            <a:p>
              <a:r>
                <a:rPr lang="ru-RU" b="1" dirty="0" smtClean="0">
                  <a:latin typeface="+mj-lt"/>
                </a:rPr>
                <a:t>единиц </a:t>
              </a:r>
            </a:p>
            <a:p>
              <a:r>
                <a:rPr lang="ru-RU" b="1" dirty="0" smtClean="0">
                  <a:latin typeface="+mj-lt"/>
                </a:rPr>
                <a:t>информации</a:t>
              </a:r>
              <a:endParaRPr lang="ru-RU" b="1" dirty="0">
                <a:latin typeface="+mj-lt"/>
              </a:endParaRPr>
            </a:p>
            <a:p>
              <a:r>
                <a:rPr lang="ru-RU" b="1" dirty="0">
                  <a:latin typeface="+mj-lt"/>
                </a:rPr>
                <a:t>обрабатывается</a:t>
              </a:r>
              <a:endParaRPr lang="id-ID" b="1" dirty="0">
                <a:latin typeface="+mj-lt"/>
              </a:endParaRPr>
            </a:p>
          </p:txBody>
        </p:sp>
        <p:sp>
          <p:nvSpPr>
            <p:cNvPr id="179" name="TextBox 178"/>
            <p:cNvSpPr txBox="1"/>
            <p:nvPr/>
          </p:nvSpPr>
          <p:spPr>
            <a:xfrm>
              <a:off x="2201944" y="2248148"/>
              <a:ext cx="1967423" cy="288147"/>
            </a:xfrm>
            <a:prstGeom prst="rect">
              <a:avLst/>
            </a:prstGeom>
            <a:noFill/>
          </p:spPr>
          <p:txBody>
            <a:bodyPr wrap="square" lIns="72000" tIns="36000" rIns="72000" bIns="36000" rtlCol="0" anchor="t">
              <a:spAutoFit/>
            </a:bodyPr>
            <a:lstStyle/>
            <a:p>
              <a:endParaRPr lang="en-US" sz="1400" dirty="0">
                <a:solidFill>
                  <a:schemeClr val="bg1">
                    <a:lumMod val="50000"/>
                  </a:schemeClr>
                </a:solidFill>
                <a:latin typeface="+mj-lt"/>
              </a:endParaRPr>
            </a:p>
          </p:txBody>
        </p:sp>
      </p:grpSp>
      <p:sp>
        <p:nvSpPr>
          <p:cNvPr id="197" name="TextBox 196"/>
          <p:cNvSpPr txBox="1"/>
          <p:nvPr/>
        </p:nvSpPr>
        <p:spPr>
          <a:xfrm>
            <a:off x="3914540" y="1401699"/>
            <a:ext cx="1294760" cy="996033"/>
          </a:xfrm>
          <a:prstGeom prst="rect">
            <a:avLst/>
          </a:prstGeom>
          <a:noFill/>
        </p:spPr>
        <p:txBody>
          <a:bodyPr wrap="none" lIns="72000" tIns="36000" rIns="72000" bIns="36000" rtlCol="0" anchor="b">
            <a:spAutoFit/>
          </a:bodyPr>
          <a:lstStyle/>
          <a:p>
            <a:pPr algn="ctr"/>
            <a:r>
              <a:rPr lang="en-US" sz="60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&gt;</a:t>
            </a:r>
            <a:r>
              <a:rPr lang="en-US" sz="60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25</a:t>
            </a:r>
            <a:endParaRPr lang="id-ID" sz="6000" b="1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198" name="TextBox 197"/>
          <p:cNvSpPr txBox="1"/>
          <p:nvPr/>
        </p:nvSpPr>
        <p:spPr>
          <a:xfrm>
            <a:off x="4733316" y="1204054"/>
            <a:ext cx="829889" cy="442035"/>
          </a:xfrm>
          <a:prstGeom prst="rect">
            <a:avLst/>
          </a:prstGeom>
          <a:noFill/>
        </p:spPr>
        <p:txBody>
          <a:bodyPr wrap="none" lIns="72000" tIns="36000" rIns="72000" bIns="36000" rtlCol="0" anchor="b">
            <a:spAutoFit/>
          </a:bodyPr>
          <a:lstStyle/>
          <a:p>
            <a:pPr algn="ctr"/>
            <a:r>
              <a:rPr lang="ru-RU" sz="2400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млрд</a:t>
            </a:r>
            <a:endParaRPr lang="id-ID" sz="2400" b="1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201" name="TextBox 200"/>
          <p:cNvSpPr txBox="1"/>
          <p:nvPr/>
        </p:nvSpPr>
        <p:spPr>
          <a:xfrm>
            <a:off x="5453411" y="2214283"/>
            <a:ext cx="1336438" cy="626701"/>
          </a:xfrm>
          <a:prstGeom prst="rect">
            <a:avLst/>
          </a:prstGeom>
          <a:noFill/>
        </p:spPr>
        <p:txBody>
          <a:bodyPr wrap="none" lIns="72000" tIns="36000" rIns="72000" bIns="36000" rtlCol="0" anchor="b">
            <a:spAutoFit/>
          </a:bodyPr>
          <a:lstStyle/>
          <a:p>
            <a:r>
              <a:rPr lang="ru-RU" b="1" dirty="0" smtClean="0">
                <a:latin typeface="+mj-lt"/>
              </a:rPr>
              <a:t>итоговых </a:t>
            </a:r>
            <a:endParaRPr lang="ru-RU" b="1" dirty="0">
              <a:latin typeface="+mj-lt"/>
            </a:endParaRPr>
          </a:p>
          <a:p>
            <a:r>
              <a:rPr lang="ru-RU" b="1" dirty="0">
                <a:latin typeface="+mj-lt"/>
              </a:rPr>
              <a:t>показателей</a:t>
            </a:r>
            <a:endParaRPr lang="id-ID" b="1" dirty="0">
              <a:latin typeface="+mj-lt"/>
            </a:endParaRPr>
          </a:p>
        </p:txBody>
      </p:sp>
      <p:sp>
        <p:nvSpPr>
          <p:cNvPr id="202" name="TextBox 201"/>
          <p:cNvSpPr txBox="1"/>
          <p:nvPr/>
        </p:nvSpPr>
        <p:spPr>
          <a:xfrm>
            <a:off x="5489479" y="1398395"/>
            <a:ext cx="918054" cy="996033"/>
          </a:xfrm>
          <a:prstGeom prst="rect">
            <a:avLst/>
          </a:prstGeom>
          <a:noFill/>
        </p:spPr>
        <p:txBody>
          <a:bodyPr wrap="none" lIns="72000" tIns="36000" rIns="72000" bIns="36000" rtlCol="0" anchor="b">
            <a:spAutoFit/>
          </a:bodyPr>
          <a:lstStyle/>
          <a:p>
            <a:pPr algn="ctr"/>
            <a:r>
              <a:rPr lang="ru-RU" sz="6000" b="1" dirty="0">
                <a:solidFill>
                  <a:srgbClr val="C00000"/>
                </a:solidFill>
                <a:latin typeface="+mj-lt"/>
              </a:rPr>
              <a:t>7</a:t>
            </a:r>
            <a:r>
              <a:rPr lang="en-US" sz="6000" b="1" dirty="0" smtClean="0">
                <a:solidFill>
                  <a:srgbClr val="C00000"/>
                </a:solidFill>
                <a:latin typeface="+mj-lt"/>
              </a:rPr>
              <a:t>4</a:t>
            </a:r>
            <a:endParaRPr lang="id-ID" sz="6000" b="1" dirty="0">
              <a:solidFill>
                <a:srgbClr val="C00000"/>
              </a:solidFill>
              <a:latin typeface="+mj-lt"/>
            </a:endParaRPr>
          </a:p>
        </p:txBody>
      </p:sp>
      <p:sp>
        <p:nvSpPr>
          <p:cNvPr id="207" name="TextBox 206"/>
          <p:cNvSpPr txBox="1"/>
          <p:nvPr/>
        </p:nvSpPr>
        <p:spPr>
          <a:xfrm>
            <a:off x="5923660" y="1228480"/>
            <a:ext cx="1039882" cy="442035"/>
          </a:xfrm>
          <a:prstGeom prst="rect">
            <a:avLst/>
          </a:prstGeom>
          <a:noFill/>
        </p:spPr>
        <p:txBody>
          <a:bodyPr wrap="none" lIns="72000" tIns="36000" rIns="72000" bIns="36000" rtlCol="0" anchor="b">
            <a:spAutoFit/>
          </a:bodyPr>
          <a:lstStyle/>
          <a:p>
            <a:pPr algn="ctr"/>
            <a:r>
              <a:rPr lang="ru-RU" sz="2400" dirty="0" smtClean="0">
                <a:solidFill>
                  <a:srgbClr val="C00000"/>
                </a:solidFill>
                <a:latin typeface="+mj-lt"/>
              </a:rPr>
              <a:t>тысячи</a:t>
            </a:r>
            <a:endParaRPr lang="id-ID" sz="2400" b="1" dirty="0">
              <a:solidFill>
                <a:srgbClr val="C00000"/>
              </a:solidFill>
              <a:latin typeface="+mj-lt"/>
            </a:endParaRPr>
          </a:p>
        </p:txBody>
      </p:sp>
      <p:sp>
        <p:nvSpPr>
          <p:cNvPr id="208" name="Freeform 109">
            <a:extLst>
              <a:ext uri="{FF2B5EF4-FFF2-40B4-BE49-F238E27FC236}">
                <a16:creationId xmlns:a16="http://schemas.microsoft.com/office/drawing/2014/main" xmlns="" id="{D90D693E-D3E4-4C5A-8BB6-0AC8B60E076E}"/>
              </a:ext>
            </a:extLst>
          </p:cNvPr>
          <p:cNvSpPr>
            <a:spLocks noEditPoints="1"/>
          </p:cNvSpPr>
          <p:nvPr/>
        </p:nvSpPr>
        <p:spPr bwMode="auto">
          <a:xfrm>
            <a:off x="5911260" y="3442551"/>
            <a:ext cx="410283" cy="329616"/>
          </a:xfrm>
          <a:custGeom>
            <a:avLst/>
            <a:gdLst>
              <a:gd name="T0" fmla="*/ 55 w 100"/>
              <a:gd name="T1" fmla="*/ 4 h 88"/>
              <a:gd name="T2" fmla="*/ 76 w 100"/>
              <a:gd name="T3" fmla="*/ 41 h 88"/>
              <a:gd name="T4" fmla="*/ 76 w 100"/>
              <a:gd name="T5" fmla="*/ 41 h 88"/>
              <a:gd name="T6" fmla="*/ 98 w 100"/>
              <a:gd name="T7" fmla="*/ 79 h 88"/>
              <a:gd name="T8" fmla="*/ 96 w 100"/>
              <a:gd name="T9" fmla="*/ 87 h 88"/>
              <a:gd name="T10" fmla="*/ 92 w 100"/>
              <a:gd name="T11" fmla="*/ 88 h 88"/>
              <a:gd name="T12" fmla="*/ 92 w 100"/>
              <a:gd name="T13" fmla="*/ 88 h 88"/>
              <a:gd name="T14" fmla="*/ 49 w 100"/>
              <a:gd name="T15" fmla="*/ 88 h 88"/>
              <a:gd name="T16" fmla="*/ 7 w 100"/>
              <a:gd name="T17" fmla="*/ 88 h 88"/>
              <a:gd name="T18" fmla="*/ 0 w 100"/>
              <a:gd name="T19" fmla="*/ 82 h 88"/>
              <a:gd name="T20" fmla="*/ 1 w 100"/>
              <a:gd name="T21" fmla="*/ 78 h 88"/>
              <a:gd name="T22" fmla="*/ 23 w 100"/>
              <a:gd name="T23" fmla="*/ 41 h 88"/>
              <a:gd name="T24" fmla="*/ 23 w 100"/>
              <a:gd name="T25" fmla="*/ 41 h 88"/>
              <a:gd name="T26" fmla="*/ 44 w 100"/>
              <a:gd name="T27" fmla="*/ 4 h 88"/>
              <a:gd name="T28" fmla="*/ 53 w 100"/>
              <a:gd name="T29" fmla="*/ 2 h 88"/>
              <a:gd name="T30" fmla="*/ 55 w 100"/>
              <a:gd name="T31" fmla="*/ 4 h 88"/>
              <a:gd name="T32" fmla="*/ 44 w 100"/>
              <a:gd name="T33" fmla="*/ 34 h 88"/>
              <a:gd name="T34" fmla="*/ 44 w 100"/>
              <a:gd name="T35" fmla="*/ 37 h 88"/>
              <a:gd name="T36" fmla="*/ 46 w 100"/>
              <a:gd name="T37" fmla="*/ 62 h 88"/>
              <a:gd name="T38" fmla="*/ 52 w 100"/>
              <a:gd name="T39" fmla="*/ 62 h 88"/>
              <a:gd name="T40" fmla="*/ 54 w 100"/>
              <a:gd name="T41" fmla="*/ 37 h 88"/>
              <a:gd name="T42" fmla="*/ 54 w 100"/>
              <a:gd name="T43" fmla="*/ 34 h 88"/>
              <a:gd name="T44" fmla="*/ 44 w 100"/>
              <a:gd name="T45" fmla="*/ 34 h 88"/>
              <a:gd name="T46" fmla="*/ 49 w 100"/>
              <a:gd name="T47" fmla="*/ 72 h 88"/>
              <a:gd name="T48" fmla="*/ 53 w 100"/>
              <a:gd name="T49" fmla="*/ 69 h 88"/>
              <a:gd name="T50" fmla="*/ 49 w 100"/>
              <a:gd name="T51" fmla="*/ 65 h 88"/>
              <a:gd name="T52" fmla="*/ 45 w 100"/>
              <a:gd name="T53" fmla="*/ 69 h 88"/>
              <a:gd name="T54" fmla="*/ 49 w 100"/>
              <a:gd name="T55" fmla="*/ 72 h 88"/>
              <a:gd name="T56" fmla="*/ 65 w 100"/>
              <a:gd name="T57" fmla="*/ 48 h 88"/>
              <a:gd name="T58" fmla="*/ 49 w 100"/>
              <a:gd name="T59" fmla="*/ 20 h 88"/>
              <a:gd name="T60" fmla="*/ 34 w 100"/>
              <a:gd name="T61" fmla="*/ 47 h 88"/>
              <a:gd name="T62" fmla="*/ 33 w 100"/>
              <a:gd name="T63" fmla="*/ 48 h 88"/>
              <a:gd name="T64" fmla="*/ 17 w 100"/>
              <a:gd name="T65" fmla="*/ 75 h 88"/>
              <a:gd name="T66" fmla="*/ 49 w 100"/>
              <a:gd name="T67" fmla="*/ 75 h 88"/>
              <a:gd name="T68" fmla="*/ 81 w 100"/>
              <a:gd name="T69" fmla="*/ 75 h 88"/>
              <a:gd name="T70" fmla="*/ 65 w 100"/>
              <a:gd name="T71" fmla="*/ 48 h 88"/>
              <a:gd name="T72" fmla="*/ 65 w 100"/>
              <a:gd name="T73" fmla="*/ 48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00" h="88">
                <a:moveTo>
                  <a:pt x="55" y="4"/>
                </a:moveTo>
                <a:cubicBezTo>
                  <a:pt x="76" y="41"/>
                  <a:pt x="76" y="41"/>
                  <a:pt x="76" y="41"/>
                </a:cubicBezTo>
                <a:cubicBezTo>
                  <a:pt x="76" y="41"/>
                  <a:pt x="76" y="41"/>
                  <a:pt x="76" y="41"/>
                </a:cubicBezTo>
                <a:cubicBezTo>
                  <a:pt x="98" y="79"/>
                  <a:pt x="98" y="79"/>
                  <a:pt x="98" y="79"/>
                </a:cubicBezTo>
                <a:cubicBezTo>
                  <a:pt x="100" y="82"/>
                  <a:pt x="99" y="85"/>
                  <a:pt x="96" y="87"/>
                </a:cubicBezTo>
                <a:cubicBezTo>
                  <a:pt x="95" y="88"/>
                  <a:pt x="93" y="88"/>
                  <a:pt x="92" y="88"/>
                </a:cubicBezTo>
                <a:cubicBezTo>
                  <a:pt x="92" y="88"/>
                  <a:pt x="92" y="88"/>
                  <a:pt x="92" y="88"/>
                </a:cubicBezTo>
                <a:cubicBezTo>
                  <a:pt x="49" y="88"/>
                  <a:pt x="49" y="88"/>
                  <a:pt x="49" y="88"/>
                </a:cubicBezTo>
                <a:cubicBezTo>
                  <a:pt x="7" y="88"/>
                  <a:pt x="7" y="88"/>
                  <a:pt x="7" y="88"/>
                </a:cubicBezTo>
                <a:cubicBezTo>
                  <a:pt x="3" y="88"/>
                  <a:pt x="0" y="85"/>
                  <a:pt x="0" y="82"/>
                </a:cubicBezTo>
                <a:cubicBezTo>
                  <a:pt x="0" y="80"/>
                  <a:pt x="1" y="79"/>
                  <a:pt x="1" y="78"/>
                </a:cubicBezTo>
                <a:cubicBezTo>
                  <a:pt x="23" y="41"/>
                  <a:pt x="23" y="41"/>
                  <a:pt x="23" y="41"/>
                </a:cubicBezTo>
                <a:cubicBezTo>
                  <a:pt x="23" y="41"/>
                  <a:pt x="23" y="41"/>
                  <a:pt x="23" y="41"/>
                </a:cubicBezTo>
                <a:cubicBezTo>
                  <a:pt x="44" y="4"/>
                  <a:pt x="44" y="4"/>
                  <a:pt x="44" y="4"/>
                </a:cubicBezTo>
                <a:cubicBezTo>
                  <a:pt x="46" y="1"/>
                  <a:pt x="50" y="0"/>
                  <a:pt x="53" y="2"/>
                </a:cubicBezTo>
                <a:cubicBezTo>
                  <a:pt x="54" y="3"/>
                  <a:pt x="54" y="3"/>
                  <a:pt x="55" y="4"/>
                </a:cubicBezTo>
                <a:close/>
                <a:moveTo>
                  <a:pt x="44" y="34"/>
                </a:moveTo>
                <a:cubicBezTo>
                  <a:pt x="44" y="37"/>
                  <a:pt x="44" y="37"/>
                  <a:pt x="44" y="37"/>
                </a:cubicBezTo>
                <a:cubicBezTo>
                  <a:pt x="46" y="62"/>
                  <a:pt x="46" y="62"/>
                  <a:pt x="46" y="62"/>
                </a:cubicBezTo>
                <a:cubicBezTo>
                  <a:pt x="52" y="62"/>
                  <a:pt x="52" y="62"/>
                  <a:pt x="52" y="62"/>
                </a:cubicBezTo>
                <a:cubicBezTo>
                  <a:pt x="54" y="37"/>
                  <a:pt x="54" y="37"/>
                  <a:pt x="54" y="37"/>
                </a:cubicBezTo>
                <a:cubicBezTo>
                  <a:pt x="54" y="34"/>
                  <a:pt x="54" y="34"/>
                  <a:pt x="54" y="34"/>
                </a:cubicBezTo>
                <a:cubicBezTo>
                  <a:pt x="44" y="34"/>
                  <a:pt x="44" y="34"/>
                  <a:pt x="44" y="34"/>
                </a:cubicBezTo>
                <a:close/>
                <a:moveTo>
                  <a:pt x="49" y="72"/>
                </a:moveTo>
                <a:cubicBezTo>
                  <a:pt x="52" y="72"/>
                  <a:pt x="53" y="71"/>
                  <a:pt x="53" y="69"/>
                </a:cubicBezTo>
                <a:cubicBezTo>
                  <a:pt x="53" y="66"/>
                  <a:pt x="51" y="65"/>
                  <a:pt x="49" y="65"/>
                </a:cubicBezTo>
                <a:cubicBezTo>
                  <a:pt x="47" y="65"/>
                  <a:pt x="45" y="66"/>
                  <a:pt x="45" y="69"/>
                </a:cubicBezTo>
                <a:cubicBezTo>
                  <a:pt x="45" y="71"/>
                  <a:pt x="47" y="72"/>
                  <a:pt x="49" y="72"/>
                </a:cubicBezTo>
                <a:close/>
                <a:moveTo>
                  <a:pt x="65" y="48"/>
                </a:moveTo>
                <a:cubicBezTo>
                  <a:pt x="49" y="20"/>
                  <a:pt x="49" y="20"/>
                  <a:pt x="49" y="20"/>
                </a:cubicBezTo>
                <a:cubicBezTo>
                  <a:pt x="34" y="47"/>
                  <a:pt x="34" y="47"/>
                  <a:pt x="34" y="47"/>
                </a:cubicBezTo>
                <a:cubicBezTo>
                  <a:pt x="34" y="48"/>
                  <a:pt x="34" y="48"/>
                  <a:pt x="33" y="48"/>
                </a:cubicBezTo>
                <a:cubicBezTo>
                  <a:pt x="17" y="75"/>
                  <a:pt x="17" y="75"/>
                  <a:pt x="17" y="75"/>
                </a:cubicBezTo>
                <a:cubicBezTo>
                  <a:pt x="49" y="75"/>
                  <a:pt x="49" y="75"/>
                  <a:pt x="49" y="75"/>
                </a:cubicBezTo>
                <a:cubicBezTo>
                  <a:pt x="81" y="75"/>
                  <a:pt x="81" y="75"/>
                  <a:pt x="81" y="75"/>
                </a:cubicBezTo>
                <a:cubicBezTo>
                  <a:pt x="65" y="48"/>
                  <a:pt x="65" y="48"/>
                  <a:pt x="65" y="48"/>
                </a:cubicBezTo>
                <a:cubicBezTo>
                  <a:pt x="65" y="48"/>
                  <a:pt x="65" y="48"/>
                  <a:pt x="65" y="4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prstClr val="black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8533371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145763F1-9C07-4FF8-8F62-15A808A4660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77282" y="147370"/>
            <a:ext cx="11036095" cy="571500"/>
          </a:xfrm>
        </p:spPr>
        <p:txBody>
          <a:bodyPr/>
          <a:lstStyle/>
          <a:p>
            <a:r>
              <a:rPr lang="ru-RU" sz="3200" dirty="0" smtClean="0"/>
              <a:t>Изменение парадигмы статистического наблюдения</a:t>
            </a:r>
          </a:p>
        </p:txBody>
      </p:sp>
      <p:grpSp>
        <p:nvGrpSpPr>
          <p:cNvPr id="137" name="Group 1">
            <a:extLst>
              <a:ext uri="{FF2B5EF4-FFF2-40B4-BE49-F238E27FC236}">
                <a16:creationId xmlns:a16="http://schemas.microsoft.com/office/drawing/2014/main" xmlns="" id="{BA8B935E-2AF1-499A-A51D-C3703758B62B}"/>
              </a:ext>
            </a:extLst>
          </p:cNvPr>
          <p:cNvGrpSpPr/>
          <p:nvPr/>
        </p:nvGrpSpPr>
        <p:grpSpPr>
          <a:xfrm>
            <a:off x="87702" y="49350"/>
            <a:ext cx="1198881" cy="1198881"/>
            <a:chOff x="5496559" y="1760636"/>
            <a:chExt cx="1198881" cy="1198881"/>
          </a:xfrm>
        </p:grpSpPr>
        <p:sp>
          <p:nvSpPr>
            <p:cNvPr id="138" name="Rectangle 61">
              <a:extLst>
                <a:ext uri="{FF2B5EF4-FFF2-40B4-BE49-F238E27FC236}">
                  <a16:creationId xmlns:a16="http://schemas.microsoft.com/office/drawing/2014/main" xmlns="" id="{5729ACDC-309D-439B-993A-3287CFF3FF98}"/>
                </a:ext>
              </a:extLst>
            </p:cNvPr>
            <p:cNvSpPr/>
            <p:nvPr/>
          </p:nvSpPr>
          <p:spPr>
            <a:xfrm>
              <a:off x="5496559" y="1760636"/>
              <a:ext cx="1198881" cy="1198881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9" name="Rectangle 62">
              <a:extLst>
                <a:ext uri="{FF2B5EF4-FFF2-40B4-BE49-F238E27FC236}">
                  <a16:creationId xmlns:a16="http://schemas.microsoft.com/office/drawing/2014/main" xmlns="" id="{74F48997-2305-472A-B037-DE580EA0DD64}"/>
                </a:ext>
              </a:extLst>
            </p:cNvPr>
            <p:cNvSpPr/>
            <p:nvPr/>
          </p:nvSpPr>
          <p:spPr>
            <a:xfrm>
              <a:off x="5673447" y="1975355"/>
              <a:ext cx="845103" cy="76944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4400" b="1" dirty="0" smtClean="0">
                  <a:solidFill>
                    <a:schemeClr val="bg1"/>
                  </a:solidFill>
                  <a:latin typeface="Trebuchet MS" panose="020B0603020202020204" pitchFamily="34" charset="0"/>
                </a:rPr>
                <a:t>0</a:t>
              </a:r>
              <a:r>
                <a:rPr lang="ru-RU" sz="4400" b="1" dirty="0" smtClean="0">
                  <a:solidFill>
                    <a:schemeClr val="bg1"/>
                  </a:solidFill>
                  <a:latin typeface="Trebuchet MS" panose="020B0603020202020204" pitchFamily="34" charset="0"/>
                </a:rPr>
                <a:t>3</a:t>
              </a:r>
              <a:endParaRPr lang="en-US" sz="4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61" name="object 22">
            <a:extLst>
              <a:ext uri="{FF2B5EF4-FFF2-40B4-BE49-F238E27FC236}">
                <a16:creationId xmlns:a16="http://schemas.microsoft.com/office/drawing/2014/main" xmlns="" id="{4F9D9471-91ED-41AF-BF12-739546B2A932}"/>
              </a:ext>
            </a:extLst>
          </p:cNvPr>
          <p:cNvSpPr/>
          <p:nvPr/>
        </p:nvSpPr>
        <p:spPr>
          <a:xfrm>
            <a:off x="8938809" y="2929592"/>
            <a:ext cx="180000" cy="180000"/>
          </a:xfrm>
          <a:custGeom>
            <a:avLst/>
            <a:gdLst/>
            <a:ahLst/>
            <a:cxnLst/>
            <a:rect l="l" t="t" r="r" b="b"/>
            <a:pathLst>
              <a:path w="144145" h="144144">
                <a:moveTo>
                  <a:pt x="144005" y="143992"/>
                </a:moveTo>
                <a:lnTo>
                  <a:pt x="0" y="143992"/>
                </a:lnTo>
                <a:lnTo>
                  <a:pt x="0" y="0"/>
                </a:lnTo>
                <a:lnTo>
                  <a:pt x="144005" y="0"/>
                </a:lnTo>
                <a:lnTo>
                  <a:pt x="144005" y="143992"/>
                </a:lnTo>
                <a:close/>
              </a:path>
            </a:pathLst>
          </a:custGeom>
          <a:solidFill>
            <a:srgbClr val="00B0F0"/>
          </a:solidFill>
        </p:spPr>
        <p:txBody>
          <a:bodyPr wrap="square" lIns="0" tIns="0" rIns="0" bIns="0" rtlCol="0"/>
          <a:lstStyle/>
          <a:p>
            <a:endParaRPr sz="1400">
              <a:cs typeface="Biome Light" panose="020B0303030204020804" pitchFamily="34" charset="0"/>
            </a:endParaRPr>
          </a:p>
        </p:txBody>
      </p:sp>
      <p:sp>
        <p:nvSpPr>
          <p:cNvPr id="62" name="object 23">
            <a:extLst>
              <a:ext uri="{FF2B5EF4-FFF2-40B4-BE49-F238E27FC236}">
                <a16:creationId xmlns:a16="http://schemas.microsoft.com/office/drawing/2014/main" xmlns="" id="{F4730C21-979C-40D1-8426-619EDD5B1391}"/>
              </a:ext>
            </a:extLst>
          </p:cNvPr>
          <p:cNvSpPr txBox="1"/>
          <p:nvPr/>
        </p:nvSpPr>
        <p:spPr>
          <a:xfrm>
            <a:off x="9236531" y="2902470"/>
            <a:ext cx="2251077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sz="1400" b="1" spc="23" dirty="0" err="1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Потоковый</a:t>
            </a:r>
            <a:r>
              <a:rPr lang="ru-RU" sz="1400" b="1" spc="9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sz="1400" b="1" spc="18" dirty="0" err="1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сбор</a:t>
            </a:r>
            <a:r>
              <a:rPr sz="1400" b="1" spc="9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sz="1400" b="1" spc="14" dirty="0" err="1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данны</a:t>
            </a:r>
            <a:r>
              <a:rPr lang="ru-RU" sz="1400" b="1" spc="14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х</a:t>
            </a:r>
          </a:p>
        </p:txBody>
      </p:sp>
      <p:sp>
        <p:nvSpPr>
          <p:cNvPr id="63" name="object 24">
            <a:extLst>
              <a:ext uri="{FF2B5EF4-FFF2-40B4-BE49-F238E27FC236}">
                <a16:creationId xmlns:a16="http://schemas.microsoft.com/office/drawing/2014/main" xmlns="" id="{D4B93455-1233-4CCC-BDB2-1B8F27BAB20A}"/>
              </a:ext>
            </a:extLst>
          </p:cNvPr>
          <p:cNvSpPr/>
          <p:nvPr/>
        </p:nvSpPr>
        <p:spPr>
          <a:xfrm>
            <a:off x="8938809" y="2406145"/>
            <a:ext cx="180000" cy="180000"/>
          </a:xfrm>
          <a:custGeom>
            <a:avLst/>
            <a:gdLst/>
            <a:ahLst/>
            <a:cxnLst/>
            <a:rect l="l" t="t" r="r" b="b"/>
            <a:pathLst>
              <a:path w="144145" h="144144">
                <a:moveTo>
                  <a:pt x="144005" y="144005"/>
                </a:moveTo>
                <a:lnTo>
                  <a:pt x="0" y="144005"/>
                </a:lnTo>
                <a:lnTo>
                  <a:pt x="0" y="0"/>
                </a:lnTo>
                <a:lnTo>
                  <a:pt x="144005" y="0"/>
                </a:lnTo>
                <a:lnTo>
                  <a:pt x="144005" y="144005"/>
                </a:lnTo>
                <a:close/>
              </a:path>
            </a:pathLst>
          </a:custGeom>
          <a:solidFill>
            <a:srgbClr val="334286"/>
          </a:solidFill>
        </p:spPr>
        <p:txBody>
          <a:bodyPr wrap="square" lIns="0" tIns="0" rIns="0" bIns="0" rtlCol="0"/>
          <a:lstStyle/>
          <a:p>
            <a:endParaRPr sz="1400">
              <a:cs typeface="Biome Light" panose="020B0303030204020804" pitchFamily="34" charset="0"/>
            </a:endParaRPr>
          </a:p>
        </p:txBody>
      </p:sp>
      <p:sp>
        <p:nvSpPr>
          <p:cNvPr id="64" name="object 25">
            <a:extLst>
              <a:ext uri="{FF2B5EF4-FFF2-40B4-BE49-F238E27FC236}">
                <a16:creationId xmlns:a16="http://schemas.microsoft.com/office/drawing/2014/main" xmlns="" id="{5FA8C042-D821-4357-B18C-15B249518060}"/>
              </a:ext>
            </a:extLst>
          </p:cNvPr>
          <p:cNvSpPr txBox="1"/>
          <p:nvPr/>
        </p:nvSpPr>
        <p:spPr>
          <a:xfrm>
            <a:off x="9236531" y="3418562"/>
            <a:ext cx="2386985" cy="34471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marR="4607">
              <a:lnSpc>
                <a:spcPct val="80000"/>
              </a:lnSpc>
            </a:pPr>
            <a:r>
              <a:rPr sz="1400" b="1" spc="14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Электронный</a:t>
            </a:r>
            <a:r>
              <a:rPr sz="1400" b="1" spc="9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sz="1400" b="1" spc="18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сбор первичных</a:t>
            </a:r>
            <a:r>
              <a:rPr sz="1400" b="1" spc="9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 статданных</a:t>
            </a:r>
            <a:endParaRPr sz="1400" b="1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5" name="object 26">
            <a:extLst>
              <a:ext uri="{FF2B5EF4-FFF2-40B4-BE49-F238E27FC236}">
                <a16:creationId xmlns:a16="http://schemas.microsoft.com/office/drawing/2014/main" xmlns="" id="{EF9880B4-FA2B-4C9A-B895-3708E94C0F98}"/>
              </a:ext>
            </a:extLst>
          </p:cNvPr>
          <p:cNvSpPr/>
          <p:nvPr/>
        </p:nvSpPr>
        <p:spPr>
          <a:xfrm>
            <a:off x="8938809" y="3448143"/>
            <a:ext cx="180000" cy="180000"/>
          </a:xfrm>
          <a:custGeom>
            <a:avLst/>
            <a:gdLst/>
            <a:ahLst/>
            <a:cxnLst/>
            <a:rect l="l" t="t" r="r" b="b"/>
            <a:pathLst>
              <a:path w="144145" h="144145">
                <a:moveTo>
                  <a:pt x="144005" y="144005"/>
                </a:moveTo>
                <a:lnTo>
                  <a:pt x="0" y="144005"/>
                </a:lnTo>
                <a:lnTo>
                  <a:pt x="0" y="0"/>
                </a:lnTo>
                <a:lnTo>
                  <a:pt x="144005" y="0"/>
                </a:lnTo>
                <a:lnTo>
                  <a:pt x="144005" y="144005"/>
                </a:lnTo>
                <a:close/>
              </a:path>
            </a:pathLst>
          </a:custGeom>
          <a:solidFill>
            <a:srgbClr val="ACB0B2"/>
          </a:solidFill>
        </p:spPr>
        <p:txBody>
          <a:bodyPr wrap="square" lIns="0" tIns="0" rIns="0" bIns="0" rtlCol="0"/>
          <a:lstStyle/>
          <a:p>
            <a:endParaRPr sz="1400">
              <a:cs typeface="Biome Light" panose="020B0303030204020804" pitchFamily="34" charset="0"/>
            </a:endParaRPr>
          </a:p>
        </p:txBody>
      </p:sp>
      <p:sp>
        <p:nvSpPr>
          <p:cNvPr id="66" name="object 27">
            <a:extLst>
              <a:ext uri="{FF2B5EF4-FFF2-40B4-BE49-F238E27FC236}">
                <a16:creationId xmlns:a16="http://schemas.microsoft.com/office/drawing/2014/main" xmlns="" id="{06459CBE-CF0D-46A9-AFE2-32D11828E197}"/>
              </a:ext>
            </a:extLst>
          </p:cNvPr>
          <p:cNvSpPr txBox="1"/>
          <p:nvPr/>
        </p:nvSpPr>
        <p:spPr>
          <a:xfrm>
            <a:off x="9236531" y="4622824"/>
            <a:ext cx="2461359" cy="34471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marR="4607">
              <a:lnSpc>
                <a:spcPct val="80000"/>
              </a:lnSpc>
            </a:pPr>
            <a:r>
              <a:rPr sz="1400" b="1" spc="27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Бумажный</a:t>
            </a:r>
            <a:r>
              <a:rPr sz="1400" b="1" spc="9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sz="1400" b="1" spc="18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сбор первичных</a:t>
            </a:r>
            <a:r>
              <a:rPr sz="1400" b="1" spc="9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 статданных</a:t>
            </a:r>
            <a:endParaRPr sz="1400" b="1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7" name="object 28">
            <a:extLst>
              <a:ext uri="{FF2B5EF4-FFF2-40B4-BE49-F238E27FC236}">
                <a16:creationId xmlns:a16="http://schemas.microsoft.com/office/drawing/2014/main" xmlns="" id="{ABF61A28-01E1-435A-BCF0-DD9623058863}"/>
              </a:ext>
            </a:extLst>
          </p:cNvPr>
          <p:cNvSpPr/>
          <p:nvPr/>
        </p:nvSpPr>
        <p:spPr>
          <a:xfrm>
            <a:off x="8938809" y="4689362"/>
            <a:ext cx="180000" cy="180000"/>
          </a:xfrm>
          <a:custGeom>
            <a:avLst/>
            <a:gdLst/>
            <a:ahLst/>
            <a:cxnLst/>
            <a:rect l="l" t="t" r="r" b="b"/>
            <a:pathLst>
              <a:path w="144145" h="144145">
                <a:moveTo>
                  <a:pt x="144005" y="143992"/>
                </a:moveTo>
                <a:lnTo>
                  <a:pt x="0" y="143992"/>
                </a:lnTo>
                <a:lnTo>
                  <a:pt x="0" y="0"/>
                </a:lnTo>
                <a:lnTo>
                  <a:pt x="144005" y="0"/>
                </a:lnTo>
                <a:lnTo>
                  <a:pt x="144005" y="143992"/>
                </a:lnTo>
                <a:close/>
              </a:path>
            </a:pathLst>
          </a:custGeom>
          <a:solidFill>
            <a:srgbClr val="FFC32E"/>
          </a:solidFill>
        </p:spPr>
        <p:txBody>
          <a:bodyPr wrap="square" lIns="0" tIns="0" rIns="0" bIns="0" rtlCol="0"/>
          <a:lstStyle/>
          <a:p>
            <a:endParaRPr sz="1400">
              <a:cs typeface="Biome Light" panose="020B0303030204020804" pitchFamily="34" charset="0"/>
            </a:endParaRPr>
          </a:p>
        </p:txBody>
      </p:sp>
      <p:sp>
        <p:nvSpPr>
          <p:cNvPr id="68" name="object 29">
            <a:extLst>
              <a:ext uri="{FF2B5EF4-FFF2-40B4-BE49-F238E27FC236}">
                <a16:creationId xmlns:a16="http://schemas.microsoft.com/office/drawing/2014/main" xmlns="" id="{C3C10713-6932-40BA-9692-F2EC6ED8B0AB}"/>
              </a:ext>
            </a:extLst>
          </p:cNvPr>
          <p:cNvSpPr txBox="1"/>
          <p:nvPr/>
        </p:nvSpPr>
        <p:spPr>
          <a:xfrm>
            <a:off x="9236531" y="4079289"/>
            <a:ext cx="2606844" cy="17235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>
              <a:lnSpc>
                <a:spcPct val="80000"/>
              </a:lnSpc>
            </a:pPr>
            <a:r>
              <a:rPr sz="1400" b="1" spc="14" dirty="0" err="1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Административные</a:t>
            </a:r>
            <a:r>
              <a:rPr sz="1400" b="1" spc="23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sz="1400" b="1" spc="5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данные</a:t>
            </a:r>
            <a:endParaRPr sz="1400" b="1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9" name="object 30">
            <a:extLst>
              <a:ext uri="{FF2B5EF4-FFF2-40B4-BE49-F238E27FC236}">
                <a16:creationId xmlns:a16="http://schemas.microsoft.com/office/drawing/2014/main" xmlns="" id="{670640A2-D2BD-4B86-926C-CF5BDB872E93}"/>
              </a:ext>
            </a:extLst>
          </p:cNvPr>
          <p:cNvSpPr/>
          <p:nvPr/>
        </p:nvSpPr>
        <p:spPr>
          <a:xfrm>
            <a:off x="8938809" y="4060693"/>
            <a:ext cx="180000" cy="180000"/>
          </a:xfrm>
          <a:custGeom>
            <a:avLst/>
            <a:gdLst/>
            <a:ahLst/>
            <a:cxnLst/>
            <a:rect l="l" t="t" r="r" b="b"/>
            <a:pathLst>
              <a:path w="144145" h="144145">
                <a:moveTo>
                  <a:pt x="144005" y="144005"/>
                </a:moveTo>
                <a:lnTo>
                  <a:pt x="0" y="144005"/>
                </a:lnTo>
                <a:lnTo>
                  <a:pt x="0" y="0"/>
                </a:lnTo>
                <a:lnTo>
                  <a:pt x="144005" y="0"/>
                </a:lnTo>
                <a:lnTo>
                  <a:pt x="144005" y="144005"/>
                </a:lnTo>
                <a:close/>
              </a:path>
            </a:pathLst>
          </a:custGeom>
          <a:solidFill>
            <a:srgbClr val="E1002B"/>
          </a:solidFill>
        </p:spPr>
        <p:txBody>
          <a:bodyPr wrap="square" lIns="0" tIns="0" rIns="0" bIns="0" rtlCol="0"/>
          <a:lstStyle/>
          <a:p>
            <a:endParaRPr sz="1400">
              <a:cs typeface="Biome Light" panose="020B0303030204020804" pitchFamily="34" charset="0"/>
            </a:endParaRPr>
          </a:p>
        </p:txBody>
      </p:sp>
      <p:grpSp>
        <p:nvGrpSpPr>
          <p:cNvPr id="70" name="Группа 69"/>
          <p:cNvGrpSpPr/>
          <p:nvPr/>
        </p:nvGrpSpPr>
        <p:grpSpPr>
          <a:xfrm>
            <a:off x="639665" y="2069432"/>
            <a:ext cx="7855823" cy="4300176"/>
            <a:chOff x="742076" y="2749496"/>
            <a:chExt cx="7855823" cy="3617903"/>
          </a:xfrm>
        </p:grpSpPr>
        <p:sp>
          <p:nvSpPr>
            <p:cNvPr id="71" name="object 37">
              <a:extLst>
                <a:ext uri="{FF2B5EF4-FFF2-40B4-BE49-F238E27FC236}">
                  <a16:creationId xmlns:a16="http://schemas.microsoft.com/office/drawing/2014/main" xmlns="" id="{3A9B4015-FD13-4409-A1D2-E24B4FA345B1}"/>
                </a:ext>
              </a:extLst>
            </p:cNvPr>
            <p:cNvSpPr/>
            <p:nvPr/>
          </p:nvSpPr>
          <p:spPr>
            <a:xfrm>
              <a:off x="2881019" y="4449190"/>
              <a:ext cx="540000" cy="1546649"/>
            </a:xfrm>
            <a:custGeom>
              <a:avLst/>
              <a:gdLst/>
              <a:ahLst/>
              <a:cxnLst/>
              <a:rect l="l" t="t" r="r" b="b"/>
              <a:pathLst>
                <a:path w="327660" h="1705610">
                  <a:moveTo>
                    <a:pt x="327177" y="1705076"/>
                  </a:moveTo>
                  <a:lnTo>
                    <a:pt x="0" y="1705076"/>
                  </a:lnTo>
                  <a:lnTo>
                    <a:pt x="0" y="0"/>
                  </a:lnTo>
                  <a:lnTo>
                    <a:pt x="327177" y="0"/>
                  </a:lnTo>
                  <a:lnTo>
                    <a:pt x="327177" y="1705076"/>
                  </a:lnTo>
                  <a:close/>
                </a:path>
              </a:pathLst>
            </a:custGeom>
            <a:solidFill>
              <a:srgbClr val="FFC32E"/>
            </a:solidFill>
          </p:spPr>
          <p:txBody>
            <a:bodyPr wrap="square" lIns="0" tIns="0" rIns="0" bIns="0" rtlCol="0"/>
            <a:lstStyle/>
            <a:p>
              <a:endParaRPr sz="1632">
                <a:cs typeface="Biome Light" panose="020B0303030204020804" pitchFamily="34" charset="0"/>
              </a:endParaRPr>
            </a:p>
          </p:txBody>
        </p:sp>
        <p:sp>
          <p:nvSpPr>
            <p:cNvPr id="72" name="object 38">
              <a:extLst>
                <a:ext uri="{FF2B5EF4-FFF2-40B4-BE49-F238E27FC236}">
                  <a16:creationId xmlns:a16="http://schemas.microsoft.com/office/drawing/2014/main" xmlns="" id="{2966BE4C-19DC-4077-BA9E-44C2D574F2E0}"/>
                </a:ext>
              </a:extLst>
            </p:cNvPr>
            <p:cNvSpPr/>
            <p:nvPr/>
          </p:nvSpPr>
          <p:spPr>
            <a:xfrm>
              <a:off x="2879895" y="4034371"/>
              <a:ext cx="540000" cy="422075"/>
            </a:xfrm>
            <a:custGeom>
              <a:avLst/>
              <a:gdLst/>
              <a:ahLst/>
              <a:cxnLst/>
              <a:rect l="l" t="t" r="r" b="b"/>
              <a:pathLst>
                <a:path w="327660" h="465454">
                  <a:moveTo>
                    <a:pt x="327177" y="0"/>
                  </a:moveTo>
                  <a:lnTo>
                    <a:pt x="0" y="0"/>
                  </a:lnTo>
                  <a:lnTo>
                    <a:pt x="0" y="465112"/>
                  </a:lnTo>
                  <a:lnTo>
                    <a:pt x="327177" y="465112"/>
                  </a:lnTo>
                  <a:lnTo>
                    <a:pt x="327177" y="0"/>
                  </a:lnTo>
                  <a:close/>
                </a:path>
              </a:pathLst>
            </a:custGeom>
            <a:solidFill>
              <a:srgbClr val="E1002B"/>
            </a:solidFill>
          </p:spPr>
          <p:txBody>
            <a:bodyPr wrap="square" lIns="0" tIns="0" rIns="0" bIns="0" rtlCol="0"/>
            <a:lstStyle/>
            <a:p>
              <a:endParaRPr sz="1632">
                <a:cs typeface="Biome Light" panose="020B0303030204020804" pitchFamily="34" charset="0"/>
              </a:endParaRPr>
            </a:p>
          </p:txBody>
        </p:sp>
        <p:sp>
          <p:nvSpPr>
            <p:cNvPr id="73" name="object 39">
              <a:extLst>
                <a:ext uri="{FF2B5EF4-FFF2-40B4-BE49-F238E27FC236}">
                  <a16:creationId xmlns:a16="http://schemas.microsoft.com/office/drawing/2014/main" xmlns="" id="{1308EF3D-86DC-4BC0-A7AD-05FB974BE4DB}"/>
                </a:ext>
              </a:extLst>
            </p:cNvPr>
            <p:cNvSpPr/>
            <p:nvPr/>
          </p:nvSpPr>
          <p:spPr>
            <a:xfrm>
              <a:off x="2879895" y="3716944"/>
              <a:ext cx="540000" cy="321883"/>
            </a:xfrm>
            <a:custGeom>
              <a:avLst/>
              <a:gdLst/>
              <a:ahLst/>
              <a:cxnLst/>
              <a:rect l="l" t="t" r="r" b="b"/>
              <a:pathLst>
                <a:path w="327660" h="354964">
                  <a:moveTo>
                    <a:pt x="327177" y="354723"/>
                  </a:moveTo>
                  <a:lnTo>
                    <a:pt x="0" y="354723"/>
                  </a:lnTo>
                  <a:lnTo>
                    <a:pt x="0" y="0"/>
                  </a:lnTo>
                  <a:lnTo>
                    <a:pt x="327177" y="0"/>
                  </a:lnTo>
                  <a:lnTo>
                    <a:pt x="327177" y="354723"/>
                  </a:lnTo>
                  <a:close/>
                </a:path>
              </a:pathLst>
            </a:custGeom>
            <a:solidFill>
              <a:srgbClr val="ACB0B2"/>
            </a:solidFill>
          </p:spPr>
          <p:txBody>
            <a:bodyPr wrap="square" lIns="0" tIns="0" rIns="0" bIns="0" rtlCol="0"/>
            <a:lstStyle/>
            <a:p>
              <a:endParaRPr sz="1632">
                <a:cs typeface="Biome Light" panose="020B0303030204020804" pitchFamily="34" charset="0"/>
              </a:endParaRPr>
            </a:p>
          </p:txBody>
        </p:sp>
        <p:sp>
          <p:nvSpPr>
            <p:cNvPr id="74" name="object 40">
              <a:extLst>
                <a:ext uri="{FF2B5EF4-FFF2-40B4-BE49-F238E27FC236}">
                  <a16:creationId xmlns:a16="http://schemas.microsoft.com/office/drawing/2014/main" xmlns="" id="{4AA9C62A-1CA9-4956-B066-EE270F8ACB93}"/>
                </a:ext>
              </a:extLst>
            </p:cNvPr>
            <p:cNvSpPr/>
            <p:nvPr/>
          </p:nvSpPr>
          <p:spPr>
            <a:xfrm>
              <a:off x="4437521" y="5619930"/>
              <a:ext cx="540000" cy="376010"/>
            </a:xfrm>
            <a:custGeom>
              <a:avLst/>
              <a:gdLst/>
              <a:ahLst/>
              <a:cxnLst/>
              <a:rect l="l" t="t" r="r" b="b"/>
              <a:pathLst>
                <a:path w="327660" h="414654">
                  <a:moveTo>
                    <a:pt x="327164" y="414629"/>
                  </a:moveTo>
                  <a:lnTo>
                    <a:pt x="0" y="414629"/>
                  </a:lnTo>
                  <a:lnTo>
                    <a:pt x="0" y="0"/>
                  </a:lnTo>
                  <a:lnTo>
                    <a:pt x="327164" y="0"/>
                  </a:lnTo>
                  <a:lnTo>
                    <a:pt x="327164" y="414629"/>
                  </a:lnTo>
                  <a:close/>
                </a:path>
              </a:pathLst>
            </a:custGeom>
            <a:solidFill>
              <a:srgbClr val="FFC32E"/>
            </a:solidFill>
          </p:spPr>
          <p:txBody>
            <a:bodyPr wrap="square" lIns="0" tIns="0" rIns="0" bIns="0" rtlCol="0"/>
            <a:lstStyle/>
            <a:p>
              <a:endParaRPr sz="1632">
                <a:cs typeface="Biome Light" panose="020B0303030204020804" pitchFamily="34" charset="0"/>
              </a:endParaRPr>
            </a:p>
          </p:txBody>
        </p:sp>
        <p:sp>
          <p:nvSpPr>
            <p:cNvPr id="75" name="object 41">
              <a:extLst>
                <a:ext uri="{FF2B5EF4-FFF2-40B4-BE49-F238E27FC236}">
                  <a16:creationId xmlns:a16="http://schemas.microsoft.com/office/drawing/2014/main" xmlns="" id="{7FAC9B13-17B8-4623-8302-D1269D89D882}"/>
                </a:ext>
              </a:extLst>
            </p:cNvPr>
            <p:cNvSpPr/>
            <p:nvPr/>
          </p:nvSpPr>
          <p:spPr>
            <a:xfrm>
              <a:off x="4438645" y="5098238"/>
              <a:ext cx="540000" cy="521692"/>
            </a:xfrm>
            <a:custGeom>
              <a:avLst/>
              <a:gdLst/>
              <a:ahLst/>
              <a:cxnLst/>
              <a:rect l="l" t="t" r="r" b="b"/>
              <a:pathLst>
                <a:path w="327660" h="575310">
                  <a:moveTo>
                    <a:pt x="327164" y="0"/>
                  </a:moveTo>
                  <a:lnTo>
                    <a:pt x="0" y="0"/>
                  </a:lnTo>
                  <a:lnTo>
                    <a:pt x="0" y="575259"/>
                  </a:lnTo>
                  <a:lnTo>
                    <a:pt x="327164" y="575259"/>
                  </a:lnTo>
                  <a:lnTo>
                    <a:pt x="327164" y="0"/>
                  </a:lnTo>
                  <a:close/>
                </a:path>
              </a:pathLst>
            </a:custGeom>
            <a:solidFill>
              <a:srgbClr val="E1002B"/>
            </a:solidFill>
          </p:spPr>
          <p:txBody>
            <a:bodyPr wrap="square" lIns="0" tIns="0" rIns="0" bIns="0" rtlCol="0"/>
            <a:lstStyle/>
            <a:p>
              <a:endParaRPr sz="1632">
                <a:cs typeface="Biome Light" panose="020B0303030204020804" pitchFamily="34" charset="0"/>
              </a:endParaRPr>
            </a:p>
          </p:txBody>
        </p:sp>
        <p:sp>
          <p:nvSpPr>
            <p:cNvPr id="76" name="object 42">
              <a:extLst>
                <a:ext uri="{FF2B5EF4-FFF2-40B4-BE49-F238E27FC236}">
                  <a16:creationId xmlns:a16="http://schemas.microsoft.com/office/drawing/2014/main" xmlns="" id="{C1E5A37E-9DDA-4716-90C8-59912B2D52D9}"/>
                </a:ext>
              </a:extLst>
            </p:cNvPr>
            <p:cNvSpPr/>
            <p:nvPr/>
          </p:nvSpPr>
          <p:spPr>
            <a:xfrm>
              <a:off x="4439769" y="3605140"/>
              <a:ext cx="540000" cy="1493098"/>
            </a:xfrm>
            <a:custGeom>
              <a:avLst/>
              <a:gdLst/>
              <a:ahLst/>
              <a:cxnLst/>
              <a:rect l="l" t="t" r="r" b="b"/>
              <a:pathLst>
                <a:path w="327660" h="1646554">
                  <a:moveTo>
                    <a:pt x="327164" y="1646275"/>
                  </a:moveTo>
                  <a:lnTo>
                    <a:pt x="0" y="1646275"/>
                  </a:lnTo>
                  <a:lnTo>
                    <a:pt x="0" y="0"/>
                  </a:lnTo>
                  <a:lnTo>
                    <a:pt x="327164" y="0"/>
                  </a:lnTo>
                  <a:lnTo>
                    <a:pt x="327164" y="1646275"/>
                  </a:lnTo>
                  <a:close/>
                </a:path>
              </a:pathLst>
            </a:custGeom>
            <a:solidFill>
              <a:srgbClr val="ACB0B2"/>
            </a:solidFill>
          </p:spPr>
          <p:txBody>
            <a:bodyPr wrap="square" lIns="0" tIns="0" rIns="0" bIns="0" rtlCol="0"/>
            <a:lstStyle/>
            <a:p>
              <a:endParaRPr sz="1632">
                <a:cs typeface="Biome Light" panose="020B0303030204020804" pitchFamily="34" charset="0"/>
              </a:endParaRPr>
            </a:p>
          </p:txBody>
        </p:sp>
        <p:sp>
          <p:nvSpPr>
            <p:cNvPr id="77" name="object 43">
              <a:extLst>
                <a:ext uri="{FF2B5EF4-FFF2-40B4-BE49-F238E27FC236}">
                  <a16:creationId xmlns:a16="http://schemas.microsoft.com/office/drawing/2014/main" xmlns="" id="{F5597547-84B0-4979-BDE1-53BA40347F18}"/>
                </a:ext>
              </a:extLst>
            </p:cNvPr>
            <p:cNvSpPr/>
            <p:nvPr/>
          </p:nvSpPr>
          <p:spPr>
            <a:xfrm>
              <a:off x="7520148" y="5141763"/>
              <a:ext cx="540000" cy="854175"/>
            </a:xfrm>
            <a:custGeom>
              <a:avLst/>
              <a:gdLst/>
              <a:ahLst/>
              <a:cxnLst/>
              <a:rect l="l" t="t" r="r" b="b"/>
              <a:pathLst>
                <a:path w="327659" h="269875">
                  <a:moveTo>
                    <a:pt x="327177" y="269773"/>
                  </a:moveTo>
                  <a:lnTo>
                    <a:pt x="0" y="269773"/>
                  </a:lnTo>
                  <a:lnTo>
                    <a:pt x="0" y="0"/>
                  </a:lnTo>
                  <a:lnTo>
                    <a:pt x="327177" y="0"/>
                  </a:lnTo>
                  <a:lnTo>
                    <a:pt x="327177" y="269773"/>
                  </a:lnTo>
                  <a:close/>
                </a:path>
              </a:pathLst>
            </a:custGeom>
            <a:solidFill>
              <a:srgbClr val="E1002B"/>
            </a:solidFill>
          </p:spPr>
          <p:txBody>
            <a:bodyPr wrap="square" lIns="0" tIns="0" rIns="0" bIns="0" rtlCol="0"/>
            <a:lstStyle/>
            <a:p>
              <a:endParaRPr sz="1632">
                <a:cs typeface="Biome Light" panose="020B0303030204020804" pitchFamily="34" charset="0"/>
              </a:endParaRPr>
            </a:p>
          </p:txBody>
        </p:sp>
        <p:sp>
          <p:nvSpPr>
            <p:cNvPr id="78" name="object 44">
              <a:extLst>
                <a:ext uri="{FF2B5EF4-FFF2-40B4-BE49-F238E27FC236}">
                  <a16:creationId xmlns:a16="http://schemas.microsoft.com/office/drawing/2014/main" xmlns="" id="{B24FEAD2-A073-44EE-A62E-3B11DBD6806D}"/>
                </a:ext>
              </a:extLst>
            </p:cNvPr>
            <p:cNvSpPr/>
            <p:nvPr/>
          </p:nvSpPr>
          <p:spPr>
            <a:xfrm>
              <a:off x="7520148" y="3591823"/>
              <a:ext cx="540000" cy="841747"/>
            </a:xfrm>
            <a:custGeom>
              <a:avLst/>
              <a:gdLst/>
              <a:ahLst/>
              <a:cxnLst/>
              <a:rect l="l" t="t" r="r" b="b"/>
              <a:pathLst>
                <a:path w="327659" h="582929">
                  <a:moveTo>
                    <a:pt x="327177" y="0"/>
                  </a:moveTo>
                  <a:lnTo>
                    <a:pt x="0" y="0"/>
                  </a:lnTo>
                  <a:lnTo>
                    <a:pt x="0" y="582764"/>
                  </a:lnTo>
                  <a:lnTo>
                    <a:pt x="327177" y="582764"/>
                  </a:lnTo>
                  <a:lnTo>
                    <a:pt x="327177" y="0"/>
                  </a:lnTo>
                  <a:close/>
                </a:path>
              </a:pathLst>
            </a:custGeom>
            <a:solidFill>
              <a:srgbClr val="00B0F0"/>
            </a:solidFill>
          </p:spPr>
          <p:txBody>
            <a:bodyPr wrap="square" lIns="0" tIns="0" rIns="0" bIns="0" rtlCol="0"/>
            <a:lstStyle/>
            <a:p>
              <a:endParaRPr sz="1632">
                <a:cs typeface="Biome Light" panose="020B0303030204020804" pitchFamily="34" charset="0"/>
              </a:endParaRPr>
            </a:p>
          </p:txBody>
        </p:sp>
        <p:sp>
          <p:nvSpPr>
            <p:cNvPr id="79" name="object 45">
              <a:extLst>
                <a:ext uri="{FF2B5EF4-FFF2-40B4-BE49-F238E27FC236}">
                  <a16:creationId xmlns:a16="http://schemas.microsoft.com/office/drawing/2014/main" xmlns="" id="{34C4920C-6857-40D3-B864-B62532F6BC75}"/>
                </a:ext>
              </a:extLst>
            </p:cNvPr>
            <p:cNvSpPr/>
            <p:nvPr/>
          </p:nvSpPr>
          <p:spPr>
            <a:xfrm>
              <a:off x="7520148" y="2749496"/>
              <a:ext cx="540000" cy="858682"/>
            </a:xfrm>
            <a:custGeom>
              <a:avLst/>
              <a:gdLst/>
              <a:ahLst/>
              <a:cxnLst/>
              <a:rect l="l" t="t" r="r" b="b"/>
              <a:pathLst>
                <a:path w="327659" h="2727325">
                  <a:moveTo>
                    <a:pt x="327177" y="2726753"/>
                  </a:moveTo>
                  <a:lnTo>
                    <a:pt x="0" y="2726753"/>
                  </a:lnTo>
                  <a:lnTo>
                    <a:pt x="0" y="0"/>
                  </a:lnTo>
                  <a:lnTo>
                    <a:pt x="327177" y="0"/>
                  </a:lnTo>
                  <a:lnTo>
                    <a:pt x="327177" y="2726753"/>
                  </a:lnTo>
                  <a:close/>
                </a:path>
              </a:pathLst>
            </a:custGeom>
            <a:solidFill>
              <a:srgbClr val="334286"/>
            </a:solidFill>
          </p:spPr>
          <p:txBody>
            <a:bodyPr wrap="square" lIns="0" tIns="0" rIns="0" bIns="0" rtlCol="0"/>
            <a:lstStyle/>
            <a:p>
              <a:endParaRPr sz="1632">
                <a:cs typeface="Biome Light" panose="020B0303030204020804" pitchFamily="34" charset="0"/>
              </a:endParaRPr>
            </a:p>
          </p:txBody>
        </p:sp>
        <p:sp>
          <p:nvSpPr>
            <p:cNvPr id="80" name="object 46">
              <a:extLst>
                <a:ext uri="{FF2B5EF4-FFF2-40B4-BE49-F238E27FC236}">
                  <a16:creationId xmlns:a16="http://schemas.microsoft.com/office/drawing/2014/main" xmlns="" id="{86141D15-D623-4972-A9B0-548D8FAC1C97}"/>
                </a:ext>
              </a:extLst>
            </p:cNvPr>
            <p:cNvSpPr/>
            <p:nvPr/>
          </p:nvSpPr>
          <p:spPr>
            <a:xfrm>
              <a:off x="5973750" y="5306239"/>
              <a:ext cx="540000" cy="689699"/>
            </a:xfrm>
            <a:custGeom>
              <a:avLst/>
              <a:gdLst/>
              <a:ahLst/>
              <a:cxnLst/>
              <a:rect l="l" t="t" r="r" b="b"/>
              <a:pathLst>
                <a:path w="327659" h="362585">
                  <a:moveTo>
                    <a:pt x="327177" y="362292"/>
                  </a:moveTo>
                  <a:lnTo>
                    <a:pt x="0" y="362292"/>
                  </a:lnTo>
                  <a:lnTo>
                    <a:pt x="0" y="0"/>
                  </a:lnTo>
                  <a:lnTo>
                    <a:pt x="327177" y="0"/>
                  </a:lnTo>
                  <a:lnTo>
                    <a:pt x="327177" y="362292"/>
                  </a:lnTo>
                  <a:close/>
                </a:path>
              </a:pathLst>
            </a:custGeom>
            <a:solidFill>
              <a:srgbClr val="E1002B"/>
            </a:solidFill>
          </p:spPr>
          <p:txBody>
            <a:bodyPr wrap="square" lIns="0" tIns="0" rIns="0" bIns="0" rtlCol="0"/>
            <a:lstStyle/>
            <a:p>
              <a:endParaRPr sz="1632">
                <a:cs typeface="Biome Light" panose="020B0303030204020804" pitchFamily="34" charset="0"/>
              </a:endParaRPr>
            </a:p>
          </p:txBody>
        </p:sp>
        <p:sp>
          <p:nvSpPr>
            <p:cNvPr id="81" name="object 47">
              <a:extLst>
                <a:ext uri="{FF2B5EF4-FFF2-40B4-BE49-F238E27FC236}">
                  <a16:creationId xmlns:a16="http://schemas.microsoft.com/office/drawing/2014/main" xmlns="" id="{E924C680-FFF3-4451-B77C-92356271A0B7}"/>
                </a:ext>
              </a:extLst>
            </p:cNvPr>
            <p:cNvSpPr/>
            <p:nvPr/>
          </p:nvSpPr>
          <p:spPr>
            <a:xfrm>
              <a:off x="5973750" y="4193469"/>
              <a:ext cx="540000" cy="1111177"/>
            </a:xfrm>
            <a:custGeom>
              <a:avLst/>
              <a:gdLst/>
              <a:ahLst/>
              <a:cxnLst/>
              <a:rect l="l" t="t" r="r" b="b"/>
              <a:pathLst>
                <a:path w="327659" h="340360">
                  <a:moveTo>
                    <a:pt x="327177" y="0"/>
                  </a:moveTo>
                  <a:lnTo>
                    <a:pt x="0" y="0"/>
                  </a:lnTo>
                  <a:lnTo>
                    <a:pt x="0" y="339978"/>
                  </a:lnTo>
                  <a:lnTo>
                    <a:pt x="327177" y="339978"/>
                  </a:lnTo>
                  <a:lnTo>
                    <a:pt x="327177" y="0"/>
                  </a:lnTo>
                  <a:close/>
                </a:path>
              </a:pathLst>
            </a:custGeom>
            <a:solidFill>
              <a:srgbClr val="ACB0B2"/>
            </a:solidFill>
          </p:spPr>
          <p:txBody>
            <a:bodyPr wrap="square" lIns="0" tIns="0" rIns="0" bIns="0" rtlCol="0"/>
            <a:lstStyle/>
            <a:p>
              <a:endParaRPr sz="1632">
                <a:cs typeface="Biome Light" panose="020B0303030204020804" pitchFamily="34" charset="0"/>
              </a:endParaRPr>
            </a:p>
          </p:txBody>
        </p:sp>
        <p:sp>
          <p:nvSpPr>
            <p:cNvPr id="82" name="object 48">
              <a:extLst>
                <a:ext uri="{FF2B5EF4-FFF2-40B4-BE49-F238E27FC236}">
                  <a16:creationId xmlns:a16="http://schemas.microsoft.com/office/drawing/2014/main" xmlns="" id="{00033D22-B451-41E7-97A6-58C1C6609348}"/>
                </a:ext>
              </a:extLst>
            </p:cNvPr>
            <p:cNvSpPr/>
            <p:nvPr/>
          </p:nvSpPr>
          <p:spPr>
            <a:xfrm>
              <a:off x="5973750" y="3619905"/>
              <a:ext cx="540000" cy="573564"/>
            </a:xfrm>
            <a:custGeom>
              <a:avLst/>
              <a:gdLst/>
              <a:ahLst/>
              <a:cxnLst/>
              <a:rect l="l" t="t" r="r" b="b"/>
              <a:pathLst>
                <a:path w="327659" h="1934210">
                  <a:moveTo>
                    <a:pt x="327177" y="1933892"/>
                  </a:moveTo>
                  <a:lnTo>
                    <a:pt x="0" y="1933892"/>
                  </a:lnTo>
                  <a:lnTo>
                    <a:pt x="0" y="0"/>
                  </a:lnTo>
                  <a:lnTo>
                    <a:pt x="327177" y="0"/>
                  </a:lnTo>
                  <a:lnTo>
                    <a:pt x="327177" y="1933892"/>
                  </a:lnTo>
                  <a:close/>
                </a:path>
              </a:pathLst>
            </a:custGeom>
            <a:solidFill>
              <a:srgbClr val="00B0F0"/>
            </a:solidFill>
          </p:spPr>
          <p:txBody>
            <a:bodyPr wrap="square" lIns="0" tIns="0" rIns="0" bIns="0" rtlCol="0"/>
            <a:lstStyle/>
            <a:p>
              <a:endParaRPr sz="1632">
                <a:cs typeface="Biome Light" panose="020B0303030204020804" pitchFamily="34" charset="0"/>
              </a:endParaRPr>
            </a:p>
          </p:txBody>
        </p:sp>
        <p:sp>
          <p:nvSpPr>
            <p:cNvPr id="83" name="object 50">
              <a:extLst>
                <a:ext uri="{FF2B5EF4-FFF2-40B4-BE49-F238E27FC236}">
                  <a16:creationId xmlns:a16="http://schemas.microsoft.com/office/drawing/2014/main" xmlns="" id="{2D15ED7A-B406-4893-8325-3FD9649DEB71}"/>
                </a:ext>
              </a:extLst>
            </p:cNvPr>
            <p:cNvSpPr/>
            <p:nvPr/>
          </p:nvSpPr>
          <p:spPr>
            <a:xfrm>
              <a:off x="1327124" y="4030518"/>
              <a:ext cx="540000" cy="1968148"/>
            </a:xfrm>
            <a:custGeom>
              <a:avLst/>
              <a:gdLst/>
              <a:ahLst/>
              <a:cxnLst/>
              <a:rect l="l" t="t" r="r" b="b"/>
              <a:pathLst>
                <a:path w="327660" h="2170429">
                  <a:moveTo>
                    <a:pt x="327177" y="2170188"/>
                  </a:moveTo>
                  <a:lnTo>
                    <a:pt x="0" y="2170188"/>
                  </a:lnTo>
                  <a:lnTo>
                    <a:pt x="0" y="0"/>
                  </a:lnTo>
                  <a:lnTo>
                    <a:pt x="327177" y="0"/>
                  </a:lnTo>
                  <a:lnTo>
                    <a:pt x="327177" y="2170188"/>
                  </a:lnTo>
                  <a:close/>
                </a:path>
              </a:pathLst>
            </a:custGeom>
            <a:solidFill>
              <a:srgbClr val="FFC32E"/>
            </a:solidFill>
          </p:spPr>
          <p:txBody>
            <a:bodyPr wrap="square" lIns="0" tIns="0" rIns="0" bIns="0" rtlCol="0"/>
            <a:lstStyle/>
            <a:p>
              <a:endParaRPr sz="1632">
                <a:cs typeface="Biome Light" panose="020B0303030204020804" pitchFamily="34" charset="0"/>
              </a:endParaRPr>
            </a:p>
          </p:txBody>
        </p:sp>
        <p:sp>
          <p:nvSpPr>
            <p:cNvPr id="84" name="object 51">
              <a:extLst>
                <a:ext uri="{FF2B5EF4-FFF2-40B4-BE49-F238E27FC236}">
                  <a16:creationId xmlns:a16="http://schemas.microsoft.com/office/drawing/2014/main" xmlns="" id="{7790C1D3-6496-4582-B7E2-2FBDE4C7CB70}"/>
                </a:ext>
              </a:extLst>
            </p:cNvPr>
            <p:cNvSpPr/>
            <p:nvPr/>
          </p:nvSpPr>
          <p:spPr>
            <a:xfrm>
              <a:off x="1327124" y="3835264"/>
              <a:ext cx="540000" cy="198082"/>
            </a:xfrm>
            <a:custGeom>
              <a:avLst/>
              <a:gdLst/>
              <a:ahLst/>
              <a:cxnLst/>
              <a:rect l="l" t="t" r="r" b="b"/>
              <a:pathLst>
                <a:path w="327660" h="218439">
                  <a:moveTo>
                    <a:pt x="327177" y="0"/>
                  </a:moveTo>
                  <a:lnTo>
                    <a:pt x="0" y="0"/>
                  </a:lnTo>
                  <a:lnTo>
                    <a:pt x="0" y="217868"/>
                  </a:lnTo>
                  <a:lnTo>
                    <a:pt x="327177" y="217868"/>
                  </a:lnTo>
                  <a:lnTo>
                    <a:pt x="327177" y="0"/>
                  </a:lnTo>
                  <a:close/>
                </a:path>
              </a:pathLst>
            </a:custGeom>
            <a:solidFill>
              <a:srgbClr val="E1002B"/>
            </a:solidFill>
          </p:spPr>
          <p:txBody>
            <a:bodyPr wrap="square" lIns="0" tIns="0" rIns="0" bIns="0" rtlCol="0"/>
            <a:lstStyle/>
            <a:p>
              <a:endParaRPr sz="1632">
                <a:cs typeface="Biome Light" panose="020B0303030204020804" pitchFamily="34" charset="0"/>
              </a:endParaRPr>
            </a:p>
          </p:txBody>
        </p:sp>
        <p:sp>
          <p:nvSpPr>
            <p:cNvPr id="85" name="object 52">
              <a:extLst>
                <a:ext uri="{FF2B5EF4-FFF2-40B4-BE49-F238E27FC236}">
                  <a16:creationId xmlns:a16="http://schemas.microsoft.com/office/drawing/2014/main" xmlns="" id="{01EBD768-4F33-4D06-B4DD-14C5905C0A79}"/>
                </a:ext>
              </a:extLst>
            </p:cNvPr>
            <p:cNvSpPr txBox="1"/>
            <p:nvPr/>
          </p:nvSpPr>
          <p:spPr>
            <a:xfrm>
              <a:off x="911494" y="6160244"/>
              <a:ext cx="1379737" cy="20715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1516" algn="ctr"/>
              <a:r>
                <a:rPr sz="1600" b="1" spc="27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Arial" panose="020B0604020202020204" pitchFamily="34" charset="0"/>
                </a:rPr>
                <a:t>2000</a:t>
              </a:r>
              <a:endParaRPr sz="1600" b="1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86" name="object 53">
              <a:extLst>
                <a:ext uri="{FF2B5EF4-FFF2-40B4-BE49-F238E27FC236}">
                  <a16:creationId xmlns:a16="http://schemas.microsoft.com/office/drawing/2014/main" xmlns="" id="{166C212B-3916-49C4-BC82-7AD3BA7487B3}"/>
                </a:ext>
              </a:extLst>
            </p:cNvPr>
            <p:cNvSpPr txBox="1"/>
            <p:nvPr/>
          </p:nvSpPr>
          <p:spPr>
            <a:xfrm>
              <a:off x="2406398" y="6160244"/>
              <a:ext cx="1437977" cy="20715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1516" algn="ctr"/>
              <a:r>
                <a:rPr sz="1600" b="1" spc="27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Arial" panose="020B0604020202020204" pitchFamily="34" charset="0"/>
                </a:rPr>
                <a:t>2010</a:t>
              </a:r>
              <a:endParaRPr sz="1600" b="1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87" name="object 54">
              <a:extLst>
                <a:ext uri="{FF2B5EF4-FFF2-40B4-BE49-F238E27FC236}">
                  <a16:creationId xmlns:a16="http://schemas.microsoft.com/office/drawing/2014/main" xmlns="" id="{BFFD7D5C-E6FF-435F-BD8E-CC8221B5DF35}"/>
                </a:ext>
              </a:extLst>
            </p:cNvPr>
            <p:cNvSpPr txBox="1"/>
            <p:nvPr/>
          </p:nvSpPr>
          <p:spPr>
            <a:xfrm>
              <a:off x="3959542" y="6160244"/>
              <a:ext cx="1437977" cy="20715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1516" algn="ctr"/>
              <a:r>
                <a:rPr sz="1600" b="1" spc="27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Arial" panose="020B0604020202020204" pitchFamily="34" charset="0"/>
                </a:rPr>
                <a:t>20</a:t>
              </a:r>
              <a:r>
                <a:rPr lang="ru-RU" sz="1600" b="1" spc="27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Arial" panose="020B0604020202020204" pitchFamily="34" charset="0"/>
                </a:rPr>
                <a:t>20</a:t>
              </a:r>
              <a:endParaRPr sz="1600" b="1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88" name="object 55">
              <a:extLst>
                <a:ext uri="{FF2B5EF4-FFF2-40B4-BE49-F238E27FC236}">
                  <a16:creationId xmlns:a16="http://schemas.microsoft.com/office/drawing/2014/main" xmlns="" id="{927ABA26-C973-4AE8-9ACF-9461207D5FCF}"/>
                </a:ext>
              </a:extLst>
            </p:cNvPr>
            <p:cNvSpPr txBox="1"/>
            <p:nvPr/>
          </p:nvSpPr>
          <p:spPr>
            <a:xfrm>
              <a:off x="5512686" y="6160244"/>
              <a:ext cx="1437977" cy="20715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1516" algn="ctr"/>
              <a:r>
                <a:rPr lang="ru-RU" sz="1600" b="1" spc="27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Arial" panose="020B0604020202020204" pitchFamily="34" charset="0"/>
                </a:rPr>
                <a:t>2022</a:t>
              </a:r>
              <a:endParaRPr sz="1600" b="1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89" name="object 56">
              <a:extLst>
                <a:ext uri="{FF2B5EF4-FFF2-40B4-BE49-F238E27FC236}">
                  <a16:creationId xmlns:a16="http://schemas.microsoft.com/office/drawing/2014/main" xmlns="" id="{BEDE44B1-6D25-447B-AFD6-B51C37698699}"/>
                </a:ext>
              </a:extLst>
            </p:cNvPr>
            <p:cNvSpPr txBox="1"/>
            <p:nvPr/>
          </p:nvSpPr>
          <p:spPr>
            <a:xfrm>
              <a:off x="7065831" y="6160244"/>
              <a:ext cx="1532068" cy="20715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1516" algn="ctr"/>
              <a:r>
                <a:rPr sz="1600" b="1" spc="23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Arial" panose="020B0604020202020204" pitchFamily="34" charset="0"/>
                </a:rPr>
                <a:t>2025+</a:t>
              </a:r>
              <a:endParaRPr sz="1600" b="1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90" name="object 57">
              <a:extLst>
                <a:ext uri="{FF2B5EF4-FFF2-40B4-BE49-F238E27FC236}">
                  <a16:creationId xmlns:a16="http://schemas.microsoft.com/office/drawing/2014/main" xmlns="" id="{E67AFFAE-E276-4F96-9423-07D08B3B8312}"/>
                </a:ext>
              </a:extLst>
            </p:cNvPr>
            <p:cNvSpPr/>
            <p:nvPr/>
          </p:nvSpPr>
          <p:spPr>
            <a:xfrm>
              <a:off x="742076" y="5995839"/>
              <a:ext cx="7855823" cy="0"/>
            </a:xfrm>
            <a:custGeom>
              <a:avLst/>
              <a:gdLst/>
              <a:ahLst/>
              <a:cxnLst/>
              <a:rect l="l" t="t" r="r" b="b"/>
              <a:pathLst>
                <a:path w="3093720">
                  <a:moveTo>
                    <a:pt x="0" y="0"/>
                  </a:moveTo>
                  <a:lnTo>
                    <a:pt x="3093288" y="0"/>
                  </a:lnTo>
                </a:path>
              </a:pathLst>
            </a:custGeom>
            <a:ln w="12700">
              <a:solidFill>
                <a:srgbClr val="ACB0B2"/>
              </a:solidFill>
            </a:ln>
          </p:spPr>
          <p:txBody>
            <a:bodyPr wrap="square" lIns="0" tIns="0" rIns="0" bIns="0" rtlCol="0"/>
            <a:lstStyle/>
            <a:p>
              <a:endParaRPr sz="1632">
                <a:cs typeface="Biome Light" panose="020B0303030204020804" pitchFamily="34" charset="0"/>
              </a:endParaRPr>
            </a:p>
          </p:txBody>
        </p:sp>
        <p:sp>
          <p:nvSpPr>
            <p:cNvPr id="91" name="object 45">
              <a:extLst>
                <a:ext uri="{FF2B5EF4-FFF2-40B4-BE49-F238E27FC236}">
                  <a16:creationId xmlns:a16="http://schemas.microsoft.com/office/drawing/2014/main" xmlns="" id="{34C4920C-6857-40D3-B864-B62532F6BC75}"/>
                </a:ext>
              </a:extLst>
            </p:cNvPr>
            <p:cNvSpPr/>
            <p:nvPr/>
          </p:nvSpPr>
          <p:spPr>
            <a:xfrm>
              <a:off x="7520148" y="4417214"/>
              <a:ext cx="540000" cy="756566"/>
            </a:xfrm>
            <a:custGeom>
              <a:avLst/>
              <a:gdLst/>
              <a:ahLst/>
              <a:cxnLst/>
              <a:rect l="l" t="t" r="r" b="b"/>
              <a:pathLst>
                <a:path w="327659" h="2727325">
                  <a:moveTo>
                    <a:pt x="327177" y="2726753"/>
                  </a:moveTo>
                  <a:lnTo>
                    <a:pt x="0" y="2726753"/>
                  </a:lnTo>
                  <a:lnTo>
                    <a:pt x="0" y="0"/>
                  </a:lnTo>
                  <a:lnTo>
                    <a:pt x="327177" y="0"/>
                  </a:lnTo>
                  <a:lnTo>
                    <a:pt x="327177" y="2726753"/>
                  </a:lnTo>
                  <a:close/>
                </a:path>
              </a:pathLst>
            </a:custGeom>
            <a:solidFill>
              <a:srgbClr val="ACB0B2"/>
            </a:solidFill>
          </p:spPr>
          <p:txBody>
            <a:bodyPr wrap="square" lIns="0" tIns="0" rIns="0" bIns="0" rtlCol="0"/>
            <a:lstStyle/>
            <a:p>
              <a:endParaRPr sz="1632">
                <a:cs typeface="Biome Light" panose="020B0303030204020804" pitchFamily="34" charset="0"/>
              </a:endParaRPr>
            </a:p>
          </p:txBody>
        </p:sp>
        <p:sp>
          <p:nvSpPr>
            <p:cNvPr id="96" name="object 48">
              <a:extLst>
                <a:ext uri="{FF2B5EF4-FFF2-40B4-BE49-F238E27FC236}">
                  <a16:creationId xmlns:a16="http://schemas.microsoft.com/office/drawing/2014/main" xmlns="" id="{00033D22-B451-41E7-97A6-58C1C6609348}"/>
                </a:ext>
              </a:extLst>
            </p:cNvPr>
            <p:cNvSpPr/>
            <p:nvPr/>
          </p:nvSpPr>
          <p:spPr>
            <a:xfrm>
              <a:off x="5973750" y="3308284"/>
              <a:ext cx="540000" cy="311619"/>
            </a:xfrm>
            <a:custGeom>
              <a:avLst/>
              <a:gdLst/>
              <a:ahLst/>
              <a:cxnLst/>
              <a:rect l="l" t="t" r="r" b="b"/>
              <a:pathLst>
                <a:path w="327659" h="1934210">
                  <a:moveTo>
                    <a:pt x="327177" y="1933892"/>
                  </a:moveTo>
                  <a:lnTo>
                    <a:pt x="0" y="1933892"/>
                  </a:lnTo>
                  <a:lnTo>
                    <a:pt x="0" y="0"/>
                  </a:lnTo>
                  <a:lnTo>
                    <a:pt x="327177" y="0"/>
                  </a:lnTo>
                  <a:lnTo>
                    <a:pt x="327177" y="1933892"/>
                  </a:lnTo>
                  <a:close/>
                </a:path>
              </a:pathLst>
            </a:custGeom>
            <a:solidFill>
              <a:srgbClr val="334286"/>
            </a:solidFill>
          </p:spPr>
          <p:txBody>
            <a:bodyPr wrap="square" lIns="0" tIns="0" rIns="0" bIns="0" rtlCol="0"/>
            <a:lstStyle/>
            <a:p>
              <a:endParaRPr sz="1632">
                <a:cs typeface="Biome Light" panose="020B0303030204020804" pitchFamily="34" charset="0"/>
              </a:endParaRPr>
            </a:p>
          </p:txBody>
        </p:sp>
      </p:grpSp>
      <p:sp>
        <p:nvSpPr>
          <p:cNvPr id="97" name="Прямоугольник 96"/>
          <p:cNvSpPr/>
          <p:nvPr/>
        </p:nvSpPr>
        <p:spPr>
          <a:xfrm>
            <a:off x="9236531" y="2311200"/>
            <a:ext cx="1892054" cy="307777"/>
          </a:xfrm>
          <a:prstGeom prst="rect">
            <a:avLst/>
          </a:prstGeom>
        </p:spPr>
        <p:txBody>
          <a:bodyPr wrap="square" lIns="0" anchor="ctr">
            <a:spAutoFit/>
          </a:bodyPr>
          <a:lstStyle/>
          <a:p>
            <a:r>
              <a:rPr lang="ru-RU" sz="1400" b="1" spc="14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Большие</a:t>
            </a:r>
            <a:r>
              <a:rPr lang="ru-RU" sz="1400" b="1" spc="9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spc="5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данные</a:t>
            </a:r>
            <a:endParaRPr lang="ru-RU" sz="1400" b="1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00" name="TextBox 99"/>
          <p:cNvSpPr txBox="1"/>
          <p:nvPr/>
        </p:nvSpPr>
        <p:spPr>
          <a:xfrm>
            <a:off x="1494713" y="1074008"/>
            <a:ext cx="5608798" cy="13572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ru-RU" sz="2800" dirty="0" smtClean="0">
                <a:solidFill>
                  <a:srgbClr val="C00000"/>
                </a:solidFill>
                <a:latin typeface="+mj-lt"/>
              </a:rPr>
              <a:t>Изменения в Закон о статистике:</a:t>
            </a:r>
            <a:endParaRPr lang="en-US" sz="2800" dirty="0">
              <a:solidFill>
                <a:srgbClr val="C00000"/>
              </a:solidFill>
              <a:latin typeface="+mj-lt"/>
            </a:endParaRPr>
          </a:p>
          <a:p>
            <a:pPr>
              <a:lnSpc>
                <a:spcPct val="90000"/>
              </a:lnSpc>
            </a:pPr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anose="020B0604020202020204" pitchFamily="34" charset="0"/>
              </a:rPr>
              <a:t>с 2021 года крупные и средние предприятия сдают статистику в Росстат только в электронном виде; </a:t>
            </a:r>
            <a:endParaRPr lang="en-US" dirty="0" smtClean="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>
              <a:lnSpc>
                <a:spcPct val="90000"/>
              </a:lnSpc>
            </a:pP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anose="020B0604020202020204" pitchFamily="34" charset="0"/>
              </a:rPr>
              <a:t>с</a:t>
            </a:r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anose="020B0604020202020204" pitchFamily="34" charset="0"/>
              </a:rPr>
              <a:t> 2022 года – малые предприятия</a:t>
            </a:r>
            <a:endParaRPr lang="ru-RU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346228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145763F1-9C07-4FF8-8F62-15A808A4660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77282" y="147370"/>
            <a:ext cx="11036095" cy="571500"/>
          </a:xfrm>
        </p:spPr>
        <p:txBody>
          <a:bodyPr/>
          <a:lstStyle/>
          <a:p>
            <a:r>
              <a:rPr lang="ru-RU" sz="2800" dirty="0" smtClean="0"/>
              <a:t>П</a:t>
            </a:r>
            <a:r>
              <a:rPr lang="ru-RU" sz="3200" dirty="0" smtClean="0"/>
              <a:t>роблема сбора </a:t>
            </a:r>
            <a:r>
              <a:rPr lang="ru-RU" sz="3200" dirty="0" err="1" smtClean="0"/>
              <a:t>статотчетности</a:t>
            </a:r>
            <a:endParaRPr lang="ru-RU" sz="3200" dirty="0" smtClean="0"/>
          </a:p>
        </p:txBody>
      </p:sp>
      <p:grpSp>
        <p:nvGrpSpPr>
          <p:cNvPr id="137" name="Group 1">
            <a:extLst>
              <a:ext uri="{FF2B5EF4-FFF2-40B4-BE49-F238E27FC236}">
                <a16:creationId xmlns:a16="http://schemas.microsoft.com/office/drawing/2014/main" xmlns="" id="{BA8B935E-2AF1-499A-A51D-C3703758B62B}"/>
              </a:ext>
            </a:extLst>
          </p:cNvPr>
          <p:cNvGrpSpPr/>
          <p:nvPr/>
        </p:nvGrpSpPr>
        <p:grpSpPr>
          <a:xfrm>
            <a:off x="87702" y="49350"/>
            <a:ext cx="1198881" cy="1198881"/>
            <a:chOff x="5496559" y="1760636"/>
            <a:chExt cx="1198881" cy="1198881"/>
          </a:xfrm>
        </p:grpSpPr>
        <p:sp>
          <p:nvSpPr>
            <p:cNvPr id="138" name="Rectangle 61">
              <a:extLst>
                <a:ext uri="{FF2B5EF4-FFF2-40B4-BE49-F238E27FC236}">
                  <a16:creationId xmlns:a16="http://schemas.microsoft.com/office/drawing/2014/main" xmlns="" id="{5729ACDC-309D-439B-993A-3287CFF3FF98}"/>
                </a:ext>
              </a:extLst>
            </p:cNvPr>
            <p:cNvSpPr/>
            <p:nvPr/>
          </p:nvSpPr>
          <p:spPr>
            <a:xfrm>
              <a:off x="5496559" y="1760636"/>
              <a:ext cx="1198881" cy="1198881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9" name="Rectangle 62">
              <a:extLst>
                <a:ext uri="{FF2B5EF4-FFF2-40B4-BE49-F238E27FC236}">
                  <a16:creationId xmlns:a16="http://schemas.microsoft.com/office/drawing/2014/main" xmlns="" id="{74F48997-2305-472A-B037-DE580EA0DD64}"/>
                </a:ext>
              </a:extLst>
            </p:cNvPr>
            <p:cNvSpPr/>
            <p:nvPr/>
          </p:nvSpPr>
          <p:spPr>
            <a:xfrm>
              <a:off x="5673447" y="1975355"/>
              <a:ext cx="845103" cy="76944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4400" b="1" dirty="0" smtClean="0">
                  <a:solidFill>
                    <a:schemeClr val="bg1"/>
                  </a:solidFill>
                  <a:latin typeface="Trebuchet MS" panose="020B0603020202020204" pitchFamily="34" charset="0"/>
                </a:rPr>
                <a:t>0</a:t>
              </a:r>
              <a:r>
                <a:rPr lang="ru-RU" sz="4400" b="1" dirty="0" smtClean="0">
                  <a:solidFill>
                    <a:schemeClr val="bg1"/>
                  </a:solidFill>
                  <a:latin typeface="Trebuchet MS" panose="020B0603020202020204" pitchFamily="34" charset="0"/>
                </a:rPr>
                <a:t>4</a:t>
              </a:r>
              <a:endParaRPr lang="en-US" sz="4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29" name="Group 29"/>
          <p:cNvGrpSpPr/>
          <p:nvPr/>
        </p:nvGrpSpPr>
        <p:grpSpPr>
          <a:xfrm>
            <a:off x="5709920" y="4536861"/>
            <a:ext cx="753168" cy="1093686"/>
            <a:chOff x="6096000" y="4783452"/>
            <a:chExt cx="712788" cy="1035050"/>
          </a:xfrm>
        </p:grpSpPr>
        <p:sp>
          <p:nvSpPr>
            <p:cNvPr id="130" name="Freeform 5"/>
            <p:cNvSpPr>
              <a:spLocks/>
            </p:cNvSpPr>
            <p:nvPr/>
          </p:nvSpPr>
          <p:spPr bwMode="auto">
            <a:xfrm>
              <a:off x="6096000" y="4783452"/>
              <a:ext cx="712788" cy="1035050"/>
            </a:xfrm>
            <a:custGeom>
              <a:avLst/>
              <a:gdLst>
                <a:gd name="T0" fmla="*/ 340 w 885"/>
                <a:gd name="T1" fmla="*/ 75 h 1283"/>
                <a:gd name="T2" fmla="*/ 347 w 885"/>
                <a:gd name="T3" fmla="*/ 101 h 1283"/>
                <a:gd name="T4" fmla="*/ 314 w 885"/>
                <a:gd name="T5" fmla="*/ 199 h 1283"/>
                <a:gd name="T6" fmla="*/ 0 w 885"/>
                <a:gd name="T7" fmla="*/ 199 h 1283"/>
                <a:gd name="T8" fmla="*/ 0 w 885"/>
                <a:gd name="T9" fmla="*/ 513 h 1283"/>
                <a:gd name="T10" fmla="*/ 98 w 885"/>
                <a:gd name="T11" fmla="*/ 546 h 1283"/>
                <a:gd name="T12" fmla="*/ 124 w 885"/>
                <a:gd name="T13" fmla="*/ 539 h 1283"/>
                <a:gd name="T14" fmla="*/ 199 w 885"/>
                <a:gd name="T15" fmla="*/ 642 h 1283"/>
                <a:gd name="T16" fmla="*/ 124 w 885"/>
                <a:gd name="T17" fmla="*/ 744 h 1283"/>
                <a:gd name="T18" fmla="*/ 98 w 885"/>
                <a:gd name="T19" fmla="*/ 737 h 1283"/>
                <a:gd name="T20" fmla="*/ 0 w 885"/>
                <a:gd name="T21" fmla="*/ 770 h 1283"/>
                <a:gd name="T22" fmla="*/ 0 w 885"/>
                <a:gd name="T23" fmla="*/ 1084 h 1283"/>
                <a:gd name="T24" fmla="*/ 314 w 885"/>
                <a:gd name="T25" fmla="*/ 1084 h 1283"/>
                <a:gd name="T26" fmla="*/ 347 w 885"/>
                <a:gd name="T27" fmla="*/ 1182 h 1283"/>
                <a:gd name="T28" fmla="*/ 340 w 885"/>
                <a:gd name="T29" fmla="*/ 1208 h 1283"/>
                <a:gd name="T30" fmla="*/ 443 w 885"/>
                <a:gd name="T31" fmla="*/ 1283 h 1283"/>
                <a:gd name="T32" fmla="*/ 545 w 885"/>
                <a:gd name="T33" fmla="*/ 1208 h 1283"/>
                <a:gd name="T34" fmla="*/ 539 w 885"/>
                <a:gd name="T35" fmla="*/ 1182 h 1283"/>
                <a:gd name="T36" fmla="*/ 571 w 885"/>
                <a:gd name="T37" fmla="*/ 1084 h 1283"/>
                <a:gd name="T38" fmla="*/ 885 w 885"/>
                <a:gd name="T39" fmla="*/ 1084 h 1283"/>
                <a:gd name="T40" fmla="*/ 885 w 885"/>
                <a:gd name="T41" fmla="*/ 770 h 1283"/>
                <a:gd name="T42" fmla="*/ 788 w 885"/>
                <a:gd name="T43" fmla="*/ 737 h 1283"/>
                <a:gd name="T44" fmla="*/ 761 w 885"/>
                <a:gd name="T45" fmla="*/ 744 h 1283"/>
                <a:gd name="T46" fmla="*/ 686 w 885"/>
                <a:gd name="T47" fmla="*/ 642 h 1283"/>
                <a:gd name="T48" fmla="*/ 761 w 885"/>
                <a:gd name="T49" fmla="*/ 539 h 1283"/>
                <a:gd name="T50" fmla="*/ 788 w 885"/>
                <a:gd name="T51" fmla="*/ 546 h 1283"/>
                <a:gd name="T52" fmla="*/ 885 w 885"/>
                <a:gd name="T53" fmla="*/ 513 h 1283"/>
                <a:gd name="T54" fmla="*/ 885 w 885"/>
                <a:gd name="T55" fmla="*/ 199 h 1283"/>
                <a:gd name="T56" fmla="*/ 571 w 885"/>
                <a:gd name="T57" fmla="*/ 199 h 1283"/>
                <a:gd name="T58" fmla="*/ 539 w 885"/>
                <a:gd name="T59" fmla="*/ 101 h 1283"/>
                <a:gd name="T60" fmla="*/ 545 w 885"/>
                <a:gd name="T61" fmla="*/ 75 h 1283"/>
                <a:gd name="T62" fmla="*/ 443 w 885"/>
                <a:gd name="T63" fmla="*/ 0 h 1283"/>
                <a:gd name="T64" fmla="*/ 340 w 885"/>
                <a:gd name="T65" fmla="*/ 75 h 1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85" h="1283">
                  <a:moveTo>
                    <a:pt x="340" y="75"/>
                  </a:moveTo>
                  <a:cubicBezTo>
                    <a:pt x="340" y="84"/>
                    <a:pt x="342" y="93"/>
                    <a:pt x="347" y="101"/>
                  </a:cubicBezTo>
                  <a:cubicBezTo>
                    <a:pt x="372" y="150"/>
                    <a:pt x="349" y="199"/>
                    <a:pt x="314" y="199"/>
                  </a:cubicBezTo>
                  <a:cubicBezTo>
                    <a:pt x="0" y="199"/>
                    <a:pt x="0" y="199"/>
                    <a:pt x="0" y="199"/>
                  </a:cubicBezTo>
                  <a:cubicBezTo>
                    <a:pt x="0" y="513"/>
                    <a:pt x="0" y="513"/>
                    <a:pt x="0" y="513"/>
                  </a:cubicBezTo>
                  <a:cubicBezTo>
                    <a:pt x="0" y="548"/>
                    <a:pt x="49" y="571"/>
                    <a:pt x="98" y="546"/>
                  </a:cubicBezTo>
                  <a:cubicBezTo>
                    <a:pt x="106" y="541"/>
                    <a:pt x="115" y="539"/>
                    <a:pt x="124" y="539"/>
                  </a:cubicBezTo>
                  <a:cubicBezTo>
                    <a:pt x="165" y="539"/>
                    <a:pt x="199" y="585"/>
                    <a:pt x="199" y="642"/>
                  </a:cubicBezTo>
                  <a:cubicBezTo>
                    <a:pt x="199" y="698"/>
                    <a:pt x="165" y="744"/>
                    <a:pt x="124" y="744"/>
                  </a:cubicBezTo>
                  <a:cubicBezTo>
                    <a:pt x="115" y="744"/>
                    <a:pt x="106" y="742"/>
                    <a:pt x="98" y="737"/>
                  </a:cubicBezTo>
                  <a:cubicBezTo>
                    <a:pt x="49" y="712"/>
                    <a:pt x="0" y="735"/>
                    <a:pt x="0" y="770"/>
                  </a:cubicBezTo>
                  <a:cubicBezTo>
                    <a:pt x="0" y="1084"/>
                    <a:pt x="0" y="1084"/>
                    <a:pt x="0" y="1084"/>
                  </a:cubicBezTo>
                  <a:cubicBezTo>
                    <a:pt x="314" y="1084"/>
                    <a:pt x="314" y="1084"/>
                    <a:pt x="314" y="1084"/>
                  </a:cubicBezTo>
                  <a:cubicBezTo>
                    <a:pt x="349" y="1084"/>
                    <a:pt x="372" y="1133"/>
                    <a:pt x="347" y="1182"/>
                  </a:cubicBezTo>
                  <a:cubicBezTo>
                    <a:pt x="342" y="1190"/>
                    <a:pt x="340" y="1199"/>
                    <a:pt x="340" y="1208"/>
                  </a:cubicBezTo>
                  <a:cubicBezTo>
                    <a:pt x="340" y="1249"/>
                    <a:pt x="386" y="1283"/>
                    <a:pt x="443" y="1283"/>
                  </a:cubicBezTo>
                  <a:cubicBezTo>
                    <a:pt x="499" y="1283"/>
                    <a:pt x="545" y="1249"/>
                    <a:pt x="545" y="1208"/>
                  </a:cubicBezTo>
                  <a:cubicBezTo>
                    <a:pt x="545" y="1199"/>
                    <a:pt x="543" y="1190"/>
                    <a:pt x="539" y="1182"/>
                  </a:cubicBezTo>
                  <a:cubicBezTo>
                    <a:pt x="513" y="1133"/>
                    <a:pt x="536" y="1084"/>
                    <a:pt x="571" y="1084"/>
                  </a:cubicBezTo>
                  <a:cubicBezTo>
                    <a:pt x="885" y="1084"/>
                    <a:pt x="885" y="1084"/>
                    <a:pt x="885" y="1084"/>
                  </a:cubicBezTo>
                  <a:cubicBezTo>
                    <a:pt x="885" y="770"/>
                    <a:pt x="885" y="770"/>
                    <a:pt x="885" y="770"/>
                  </a:cubicBezTo>
                  <a:cubicBezTo>
                    <a:pt x="885" y="735"/>
                    <a:pt x="836" y="712"/>
                    <a:pt x="788" y="737"/>
                  </a:cubicBezTo>
                  <a:cubicBezTo>
                    <a:pt x="779" y="742"/>
                    <a:pt x="770" y="744"/>
                    <a:pt x="761" y="744"/>
                  </a:cubicBezTo>
                  <a:cubicBezTo>
                    <a:pt x="720" y="744"/>
                    <a:pt x="686" y="698"/>
                    <a:pt x="686" y="642"/>
                  </a:cubicBezTo>
                  <a:cubicBezTo>
                    <a:pt x="686" y="585"/>
                    <a:pt x="720" y="539"/>
                    <a:pt x="761" y="539"/>
                  </a:cubicBezTo>
                  <a:cubicBezTo>
                    <a:pt x="770" y="539"/>
                    <a:pt x="779" y="541"/>
                    <a:pt x="788" y="546"/>
                  </a:cubicBezTo>
                  <a:cubicBezTo>
                    <a:pt x="836" y="571"/>
                    <a:pt x="885" y="548"/>
                    <a:pt x="885" y="513"/>
                  </a:cubicBezTo>
                  <a:cubicBezTo>
                    <a:pt x="885" y="199"/>
                    <a:pt x="885" y="199"/>
                    <a:pt x="885" y="199"/>
                  </a:cubicBezTo>
                  <a:cubicBezTo>
                    <a:pt x="571" y="199"/>
                    <a:pt x="571" y="199"/>
                    <a:pt x="571" y="199"/>
                  </a:cubicBezTo>
                  <a:cubicBezTo>
                    <a:pt x="536" y="199"/>
                    <a:pt x="513" y="150"/>
                    <a:pt x="539" y="101"/>
                  </a:cubicBezTo>
                  <a:cubicBezTo>
                    <a:pt x="543" y="93"/>
                    <a:pt x="545" y="84"/>
                    <a:pt x="545" y="75"/>
                  </a:cubicBezTo>
                  <a:cubicBezTo>
                    <a:pt x="545" y="34"/>
                    <a:pt x="499" y="0"/>
                    <a:pt x="443" y="0"/>
                  </a:cubicBezTo>
                  <a:cubicBezTo>
                    <a:pt x="386" y="0"/>
                    <a:pt x="340" y="34"/>
                    <a:pt x="340" y="75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7"/>
            <p:cNvSpPr>
              <a:spLocks/>
            </p:cNvSpPr>
            <p:nvPr/>
          </p:nvSpPr>
          <p:spPr bwMode="auto">
            <a:xfrm>
              <a:off x="6369050" y="5672452"/>
              <a:ext cx="28575" cy="123825"/>
            </a:xfrm>
            <a:custGeom>
              <a:avLst/>
              <a:gdLst>
                <a:gd name="T0" fmla="*/ 5 w 35"/>
                <a:gd name="T1" fmla="*/ 0 h 155"/>
                <a:gd name="T2" fmla="*/ 16 w 35"/>
                <a:gd name="T3" fmla="*/ 52 h 155"/>
                <a:gd name="T4" fmla="*/ 16 w 35"/>
                <a:gd name="T5" fmla="*/ 52 h 155"/>
                <a:gd name="T6" fmla="*/ 16 w 35"/>
                <a:gd name="T7" fmla="*/ 52 h 155"/>
                <a:gd name="T8" fmla="*/ 16 w 35"/>
                <a:gd name="T9" fmla="*/ 52 h 155"/>
                <a:gd name="T10" fmla="*/ 16 w 35"/>
                <a:gd name="T11" fmla="*/ 52 h 155"/>
                <a:gd name="T12" fmla="*/ 16 w 35"/>
                <a:gd name="T13" fmla="*/ 53 h 155"/>
                <a:gd name="T14" fmla="*/ 16 w 35"/>
                <a:gd name="T15" fmla="*/ 53 h 155"/>
                <a:gd name="T16" fmla="*/ 7 w 35"/>
                <a:gd name="T17" fmla="*/ 80 h 155"/>
                <a:gd name="T18" fmla="*/ 7 w 35"/>
                <a:gd name="T19" fmla="*/ 80 h 155"/>
                <a:gd name="T20" fmla="*/ 7 w 35"/>
                <a:gd name="T21" fmla="*/ 80 h 155"/>
                <a:gd name="T22" fmla="*/ 7 w 35"/>
                <a:gd name="T23" fmla="*/ 81 h 155"/>
                <a:gd name="T24" fmla="*/ 0 w 35"/>
                <a:gd name="T25" fmla="*/ 107 h 155"/>
                <a:gd name="T26" fmla="*/ 0 w 35"/>
                <a:gd name="T27" fmla="*/ 107 h 155"/>
                <a:gd name="T28" fmla="*/ 0 w 35"/>
                <a:gd name="T29" fmla="*/ 108 h 155"/>
                <a:gd name="T30" fmla="*/ 0 w 35"/>
                <a:gd name="T31" fmla="*/ 108 h 155"/>
                <a:gd name="T32" fmla="*/ 0 w 35"/>
                <a:gd name="T33" fmla="*/ 108 h 155"/>
                <a:gd name="T34" fmla="*/ 0 w 35"/>
                <a:gd name="T35" fmla="*/ 108 h 155"/>
                <a:gd name="T36" fmla="*/ 0 w 35"/>
                <a:gd name="T37" fmla="*/ 108 h 155"/>
                <a:gd name="T38" fmla="*/ 0 w 35"/>
                <a:gd name="T39" fmla="*/ 108 h 155"/>
                <a:gd name="T40" fmla="*/ 0 w 35"/>
                <a:gd name="T41" fmla="*/ 108 h 155"/>
                <a:gd name="T42" fmla="*/ 0 w 35"/>
                <a:gd name="T43" fmla="*/ 108 h 155"/>
                <a:gd name="T44" fmla="*/ 0 w 35"/>
                <a:gd name="T45" fmla="*/ 108 h 155"/>
                <a:gd name="T46" fmla="*/ 0 w 35"/>
                <a:gd name="T47" fmla="*/ 109 h 155"/>
                <a:gd name="T48" fmla="*/ 0 w 35"/>
                <a:gd name="T49" fmla="*/ 109 h 155"/>
                <a:gd name="T50" fmla="*/ 0 w 35"/>
                <a:gd name="T51" fmla="*/ 109 h 155"/>
                <a:gd name="T52" fmla="*/ 0 w 35"/>
                <a:gd name="T53" fmla="*/ 109 h 155"/>
                <a:gd name="T54" fmla="*/ 24 w 35"/>
                <a:gd name="T55" fmla="*/ 155 h 155"/>
                <a:gd name="T56" fmla="*/ 9 w 35"/>
                <a:gd name="T57" fmla="*/ 116 h 155"/>
                <a:gd name="T58" fmla="*/ 16 w 35"/>
                <a:gd name="T59" fmla="*/ 90 h 155"/>
                <a:gd name="T60" fmla="*/ 5 w 35"/>
                <a:gd name="T61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5" h="155">
                  <a:moveTo>
                    <a:pt x="5" y="0"/>
                  </a:moveTo>
                  <a:cubicBezTo>
                    <a:pt x="15" y="13"/>
                    <a:pt x="20" y="31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6" y="53"/>
                    <a:pt x="16" y="53"/>
                    <a:pt x="16" y="53"/>
                  </a:cubicBezTo>
                  <a:cubicBezTo>
                    <a:pt x="16" y="53"/>
                    <a:pt x="16" y="53"/>
                    <a:pt x="16" y="53"/>
                  </a:cubicBezTo>
                  <a:cubicBezTo>
                    <a:pt x="15" y="62"/>
                    <a:pt x="12" y="71"/>
                    <a:pt x="7" y="80"/>
                  </a:cubicBezTo>
                  <a:cubicBezTo>
                    <a:pt x="7" y="80"/>
                    <a:pt x="7" y="80"/>
                    <a:pt x="7" y="80"/>
                  </a:cubicBezTo>
                  <a:cubicBezTo>
                    <a:pt x="7" y="80"/>
                    <a:pt x="7" y="80"/>
                    <a:pt x="7" y="80"/>
                  </a:cubicBezTo>
                  <a:cubicBezTo>
                    <a:pt x="7" y="80"/>
                    <a:pt x="7" y="81"/>
                    <a:pt x="7" y="81"/>
                  </a:cubicBezTo>
                  <a:cubicBezTo>
                    <a:pt x="2" y="89"/>
                    <a:pt x="0" y="98"/>
                    <a:pt x="0" y="107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0" y="107"/>
                    <a:pt x="0" y="107"/>
                    <a:pt x="0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108"/>
                    <a:pt x="0" y="109"/>
                    <a:pt x="0" y="109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27"/>
                    <a:pt x="9" y="143"/>
                    <a:pt x="24" y="155"/>
                  </a:cubicBezTo>
                  <a:cubicBezTo>
                    <a:pt x="14" y="144"/>
                    <a:pt x="9" y="131"/>
                    <a:pt x="9" y="116"/>
                  </a:cubicBezTo>
                  <a:cubicBezTo>
                    <a:pt x="9" y="107"/>
                    <a:pt x="11" y="98"/>
                    <a:pt x="16" y="90"/>
                  </a:cubicBezTo>
                  <a:cubicBezTo>
                    <a:pt x="35" y="53"/>
                    <a:pt x="26" y="15"/>
                    <a:pt x="5" y="0"/>
                  </a:cubicBez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8"/>
            <p:cNvSpPr>
              <a:spLocks noEditPoints="1"/>
            </p:cNvSpPr>
            <p:nvPr/>
          </p:nvSpPr>
          <p:spPr bwMode="auto">
            <a:xfrm>
              <a:off x="6096000" y="4783452"/>
              <a:ext cx="427038" cy="414337"/>
            </a:xfrm>
            <a:custGeom>
              <a:avLst/>
              <a:gdLst>
                <a:gd name="T0" fmla="*/ 0 w 530"/>
                <a:gd name="T1" fmla="*/ 513 h 513"/>
                <a:gd name="T2" fmla="*/ 0 w 530"/>
                <a:gd name="T3" fmla="*/ 513 h 513"/>
                <a:gd name="T4" fmla="*/ 0 w 530"/>
                <a:gd name="T5" fmla="*/ 513 h 513"/>
                <a:gd name="T6" fmla="*/ 0 w 530"/>
                <a:gd name="T7" fmla="*/ 513 h 513"/>
                <a:gd name="T8" fmla="*/ 0 w 530"/>
                <a:gd name="T9" fmla="*/ 513 h 513"/>
                <a:gd name="T10" fmla="*/ 0 w 530"/>
                <a:gd name="T11" fmla="*/ 513 h 513"/>
                <a:gd name="T12" fmla="*/ 446 w 530"/>
                <a:gd name="T13" fmla="*/ 0 h 513"/>
                <a:gd name="T14" fmla="*/ 530 w 530"/>
                <a:gd name="T15" fmla="*/ 36 h 513"/>
                <a:gd name="T16" fmla="*/ 530 w 530"/>
                <a:gd name="T17" fmla="*/ 36 h 513"/>
                <a:gd name="T18" fmla="*/ 446 w 530"/>
                <a:gd name="T19" fmla="*/ 0 h 513"/>
                <a:gd name="T20" fmla="*/ 446 w 530"/>
                <a:gd name="T21" fmla="*/ 0 h 513"/>
                <a:gd name="T22" fmla="*/ 446 w 530"/>
                <a:gd name="T23" fmla="*/ 0 h 513"/>
                <a:gd name="T24" fmla="*/ 446 w 530"/>
                <a:gd name="T25" fmla="*/ 0 h 513"/>
                <a:gd name="T26" fmla="*/ 445 w 530"/>
                <a:gd name="T27" fmla="*/ 0 h 513"/>
                <a:gd name="T28" fmla="*/ 446 w 530"/>
                <a:gd name="T29" fmla="*/ 0 h 513"/>
                <a:gd name="T30" fmla="*/ 445 w 530"/>
                <a:gd name="T31" fmla="*/ 0 h 513"/>
                <a:gd name="T32" fmla="*/ 445 w 530"/>
                <a:gd name="T33" fmla="*/ 0 h 513"/>
                <a:gd name="T34" fmla="*/ 445 w 530"/>
                <a:gd name="T35" fmla="*/ 0 h 513"/>
                <a:gd name="T36" fmla="*/ 445 w 530"/>
                <a:gd name="T37" fmla="*/ 0 h 513"/>
                <a:gd name="T38" fmla="*/ 445 w 530"/>
                <a:gd name="T39" fmla="*/ 0 h 513"/>
                <a:gd name="T40" fmla="*/ 445 w 530"/>
                <a:gd name="T41" fmla="*/ 0 h 513"/>
                <a:gd name="T42" fmla="*/ 445 w 530"/>
                <a:gd name="T43" fmla="*/ 0 h 513"/>
                <a:gd name="T44" fmla="*/ 444 w 530"/>
                <a:gd name="T45" fmla="*/ 0 h 513"/>
                <a:gd name="T46" fmla="*/ 444 w 530"/>
                <a:gd name="T47" fmla="*/ 0 h 513"/>
                <a:gd name="T48" fmla="*/ 444 w 530"/>
                <a:gd name="T49" fmla="*/ 0 h 513"/>
                <a:gd name="T50" fmla="*/ 444 w 530"/>
                <a:gd name="T51" fmla="*/ 0 h 513"/>
                <a:gd name="T52" fmla="*/ 444 w 530"/>
                <a:gd name="T53" fmla="*/ 0 h 513"/>
                <a:gd name="T54" fmla="*/ 444 w 530"/>
                <a:gd name="T55" fmla="*/ 0 h 513"/>
                <a:gd name="T56" fmla="*/ 443 w 530"/>
                <a:gd name="T57" fmla="*/ 0 h 513"/>
                <a:gd name="T58" fmla="*/ 444 w 530"/>
                <a:gd name="T59" fmla="*/ 0 h 513"/>
                <a:gd name="T60" fmla="*/ 443 w 530"/>
                <a:gd name="T61" fmla="*/ 0 h 513"/>
                <a:gd name="T62" fmla="*/ 443 w 530"/>
                <a:gd name="T63" fmla="*/ 0 h 513"/>
                <a:gd name="T64" fmla="*/ 443 w 530"/>
                <a:gd name="T65" fmla="*/ 0 h 513"/>
                <a:gd name="T66" fmla="*/ 443 w 530"/>
                <a:gd name="T67" fmla="*/ 0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30" h="513">
                  <a:moveTo>
                    <a:pt x="0" y="513"/>
                  </a:moveTo>
                  <a:cubicBezTo>
                    <a:pt x="0" y="513"/>
                    <a:pt x="0" y="513"/>
                    <a:pt x="0" y="513"/>
                  </a:cubicBezTo>
                  <a:cubicBezTo>
                    <a:pt x="0" y="513"/>
                    <a:pt x="0" y="513"/>
                    <a:pt x="0" y="513"/>
                  </a:cubicBezTo>
                  <a:moveTo>
                    <a:pt x="0" y="513"/>
                  </a:moveTo>
                  <a:cubicBezTo>
                    <a:pt x="0" y="513"/>
                    <a:pt x="0" y="513"/>
                    <a:pt x="0" y="513"/>
                  </a:cubicBezTo>
                  <a:cubicBezTo>
                    <a:pt x="0" y="513"/>
                    <a:pt x="0" y="513"/>
                    <a:pt x="0" y="513"/>
                  </a:cubicBezTo>
                  <a:moveTo>
                    <a:pt x="446" y="0"/>
                  </a:moveTo>
                  <a:cubicBezTo>
                    <a:pt x="482" y="1"/>
                    <a:pt x="513" y="15"/>
                    <a:pt x="530" y="36"/>
                  </a:cubicBezTo>
                  <a:cubicBezTo>
                    <a:pt x="530" y="36"/>
                    <a:pt x="530" y="36"/>
                    <a:pt x="530" y="36"/>
                  </a:cubicBezTo>
                  <a:cubicBezTo>
                    <a:pt x="513" y="15"/>
                    <a:pt x="482" y="1"/>
                    <a:pt x="446" y="0"/>
                  </a:cubicBezTo>
                  <a:moveTo>
                    <a:pt x="446" y="0"/>
                  </a:moveTo>
                  <a:cubicBezTo>
                    <a:pt x="446" y="0"/>
                    <a:pt x="446" y="0"/>
                    <a:pt x="446" y="0"/>
                  </a:cubicBezTo>
                  <a:cubicBezTo>
                    <a:pt x="446" y="0"/>
                    <a:pt x="446" y="0"/>
                    <a:pt x="446" y="0"/>
                  </a:cubicBezTo>
                  <a:moveTo>
                    <a:pt x="445" y="0"/>
                  </a:moveTo>
                  <a:cubicBezTo>
                    <a:pt x="445" y="0"/>
                    <a:pt x="446" y="0"/>
                    <a:pt x="446" y="0"/>
                  </a:cubicBezTo>
                  <a:cubicBezTo>
                    <a:pt x="446" y="0"/>
                    <a:pt x="445" y="0"/>
                    <a:pt x="445" y="0"/>
                  </a:cubicBezTo>
                  <a:moveTo>
                    <a:pt x="445" y="0"/>
                  </a:moveTo>
                  <a:cubicBezTo>
                    <a:pt x="445" y="0"/>
                    <a:pt x="445" y="0"/>
                    <a:pt x="445" y="0"/>
                  </a:cubicBezTo>
                  <a:cubicBezTo>
                    <a:pt x="445" y="0"/>
                    <a:pt x="445" y="0"/>
                    <a:pt x="445" y="0"/>
                  </a:cubicBezTo>
                  <a:moveTo>
                    <a:pt x="445" y="0"/>
                  </a:moveTo>
                  <a:cubicBezTo>
                    <a:pt x="445" y="0"/>
                    <a:pt x="445" y="0"/>
                    <a:pt x="445" y="0"/>
                  </a:cubicBezTo>
                  <a:cubicBezTo>
                    <a:pt x="445" y="0"/>
                    <a:pt x="445" y="0"/>
                    <a:pt x="445" y="0"/>
                  </a:cubicBezTo>
                  <a:moveTo>
                    <a:pt x="444" y="0"/>
                  </a:moveTo>
                  <a:cubicBezTo>
                    <a:pt x="444" y="0"/>
                    <a:pt x="444" y="0"/>
                    <a:pt x="444" y="0"/>
                  </a:cubicBezTo>
                  <a:cubicBezTo>
                    <a:pt x="444" y="0"/>
                    <a:pt x="444" y="0"/>
                    <a:pt x="444" y="0"/>
                  </a:cubicBezTo>
                  <a:moveTo>
                    <a:pt x="444" y="0"/>
                  </a:moveTo>
                  <a:cubicBezTo>
                    <a:pt x="444" y="0"/>
                    <a:pt x="444" y="0"/>
                    <a:pt x="444" y="0"/>
                  </a:cubicBezTo>
                  <a:cubicBezTo>
                    <a:pt x="444" y="0"/>
                    <a:pt x="444" y="0"/>
                    <a:pt x="444" y="0"/>
                  </a:cubicBezTo>
                  <a:moveTo>
                    <a:pt x="443" y="0"/>
                  </a:moveTo>
                  <a:cubicBezTo>
                    <a:pt x="443" y="0"/>
                    <a:pt x="444" y="0"/>
                    <a:pt x="444" y="0"/>
                  </a:cubicBezTo>
                  <a:cubicBezTo>
                    <a:pt x="444" y="0"/>
                    <a:pt x="443" y="0"/>
                    <a:pt x="443" y="0"/>
                  </a:cubicBezTo>
                  <a:moveTo>
                    <a:pt x="443" y="0"/>
                  </a:moveTo>
                  <a:cubicBezTo>
                    <a:pt x="443" y="0"/>
                    <a:pt x="443" y="0"/>
                    <a:pt x="443" y="0"/>
                  </a:cubicBezTo>
                  <a:cubicBezTo>
                    <a:pt x="443" y="0"/>
                    <a:pt x="443" y="0"/>
                    <a:pt x="443" y="0"/>
                  </a:cubicBezTo>
                </a:path>
              </a:pathLst>
            </a:custGeom>
            <a:solidFill>
              <a:srgbClr val="EC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9"/>
            <p:cNvSpPr>
              <a:spLocks/>
            </p:cNvSpPr>
            <p:nvPr/>
          </p:nvSpPr>
          <p:spPr bwMode="auto">
            <a:xfrm>
              <a:off x="6096000" y="4783452"/>
              <a:ext cx="427038" cy="439737"/>
            </a:xfrm>
            <a:custGeom>
              <a:avLst/>
              <a:gdLst>
                <a:gd name="T0" fmla="*/ 443 w 530"/>
                <a:gd name="T1" fmla="*/ 0 h 544"/>
                <a:gd name="T2" fmla="*/ 340 w 530"/>
                <a:gd name="T3" fmla="*/ 75 h 544"/>
                <a:gd name="T4" fmla="*/ 347 w 530"/>
                <a:gd name="T5" fmla="*/ 101 h 544"/>
                <a:gd name="T6" fmla="*/ 357 w 530"/>
                <a:gd name="T7" fmla="*/ 143 h 544"/>
                <a:gd name="T8" fmla="*/ 314 w 530"/>
                <a:gd name="T9" fmla="*/ 199 h 544"/>
                <a:gd name="T10" fmla="*/ 0 w 530"/>
                <a:gd name="T11" fmla="*/ 199 h 544"/>
                <a:gd name="T12" fmla="*/ 0 w 530"/>
                <a:gd name="T13" fmla="*/ 513 h 544"/>
                <a:gd name="T14" fmla="*/ 0 w 530"/>
                <a:gd name="T15" fmla="*/ 513 h 544"/>
                <a:gd name="T16" fmla="*/ 0 w 530"/>
                <a:gd name="T17" fmla="*/ 513 h 544"/>
                <a:gd name="T18" fmla="*/ 0 w 530"/>
                <a:gd name="T19" fmla="*/ 513 h 544"/>
                <a:gd name="T20" fmla="*/ 0 w 530"/>
                <a:gd name="T21" fmla="*/ 513 h 544"/>
                <a:gd name="T22" fmla="*/ 17 w 530"/>
                <a:gd name="T23" fmla="*/ 544 h 544"/>
                <a:gd name="T24" fmla="*/ 9 w 530"/>
                <a:gd name="T25" fmla="*/ 522 h 544"/>
                <a:gd name="T26" fmla="*/ 9 w 530"/>
                <a:gd name="T27" fmla="*/ 208 h 544"/>
                <a:gd name="T28" fmla="*/ 323 w 530"/>
                <a:gd name="T29" fmla="*/ 208 h 544"/>
                <a:gd name="T30" fmla="*/ 356 w 530"/>
                <a:gd name="T31" fmla="*/ 111 h 544"/>
                <a:gd name="T32" fmla="*/ 349 w 530"/>
                <a:gd name="T33" fmla="*/ 84 h 544"/>
                <a:gd name="T34" fmla="*/ 452 w 530"/>
                <a:gd name="T35" fmla="*/ 9 h 544"/>
                <a:gd name="T36" fmla="*/ 530 w 530"/>
                <a:gd name="T37" fmla="*/ 36 h 544"/>
                <a:gd name="T38" fmla="*/ 446 w 530"/>
                <a:gd name="T39" fmla="*/ 0 h 544"/>
                <a:gd name="T40" fmla="*/ 446 w 530"/>
                <a:gd name="T41" fmla="*/ 0 h 544"/>
                <a:gd name="T42" fmla="*/ 446 w 530"/>
                <a:gd name="T43" fmla="*/ 0 h 544"/>
                <a:gd name="T44" fmla="*/ 446 w 530"/>
                <a:gd name="T45" fmla="*/ 0 h 544"/>
                <a:gd name="T46" fmla="*/ 445 w 530"/>
                <a:gd name="T47" fmla="*/ 0 h 544"/>
                <a:gd name="T48" fmla="*/ 445 w 530"/>
                <a:gd name="T49" fmla="*/ 0 h 544"/>
                <a:gd name="T50" fmla="*/ 445 w 530"/>
                <a:gd name="T51" fmla="*/ 0 h 544"/>
                <a:gd name="T52" fmla="*/ 445 w 530"/>
                <a:gd name="T53" fmla="*/ 0 h 544"/>
                <a:gd name="T54" fmla="*/ 445 w 530"/>
                <a:gd name="T55" fmla="*/ 0 h 544"/>
                <a:gd name="T56" fmla="*/ 444 w 530"/>
                <a:gd name="T57" fmla="*/ 0 h 544"/>
                <a:gd name="T58" fmla="*/ 444 w 530"/>
                <a:gd name="T59" fmla="*/ 0 h 544"/>
                <a:gd name="T60" fmla="*/ 444 w 530"/>
                <a:gd name="T61" fmla="*/ 0 h 544"/>
                <a:gd name="T62" fmla="*/ 444 w 530"/>
                <a:gd name="T63" fmla="*/ 0 h 544"/>
                <a:gd name="T64" fmla="*/ 444 w 530"/>
                <a:gd name="T65" fmla="*/ 0 h 544"/>
                <a:gd name="T66" fmla="*/ 443 w 530"/>
                <a:gd name="T67" fmla="*/ 0 h 544"/>
                <a:gd name="T68" fmla="*/ 443 w 530"/>
                <a:gd name="T69" fmla="*/ 0 h 544"/>
                <a:gd name="T70" fmla="*/ 443 w 530"/>
                <a:gd name="T71" fmla="*/ 0 h 544"/>
                <a:gd name="T72" fmla="*/ 443 w 530"/>
                <a:gd name="T73" fmla="*/ 0 h 544"/>
                <a:gd name="T74" fmla="*/ 443 w 530"/>
                <a:gd name="T75" fmla="*/ 0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0" h="544">
                  <a:moveTo>
                    <a:pt x="443" y="0"/>
                  </a:moveTo>
                  <a:cubicBezTo>
                    <a:pt x="386" y="0"/>
                    <a:pt x="340" y="34"/>
                    <a:pt x="340" y="75"/>
                  </a:cubicBezTo>
                  <a:cubicBezTo>
                    <a:pt x="340" y="84"/>
                    <a:pt x="342" y="93"/>
                    <a:pt x="347" y="101"/>
                  </a:cubicBezTo>
                  <a:cubicBezTo>
                    <a:pt x="354" y="116"/>
                    <a:pt x="357" y="130"/>
                    <a:pt x="357" y="143"/>
                  </a:cubicBezTo>
                  <a:cubicBezTo>
                    <a:pt x="357" y="174"/>
                    <a:pt x="339" y="199"/>
                    <a:pt x="314" y="199"/>
                  </a:cubicBezTo>
                  <a:cubicBezTo>
                    <a:pt x="0" y="199"/>
                    <a:pt x="0" y="199"/>
                    <a:pt x="0" y="199"/>
                  </a:cubicBezTo>
                  <a:cubicBezTo>
                    <a:pt x="0" y="513"/>
                    <a:pt x="0" y="513"/>
                    <a:pt x="0" y="513"/>
                  </a:cubicBezTo>
                  <a:cubicBezTo>
                    <a:pt x="0" y="513"/>
                    <a:pt x="0" y="513"/>
                    <a:pt x="0" y="513"/>
                  </a:cubicBezTo>
                  <a:cubicBezTo>
                    <a:pt x="0" y="513"/>
                    <a:pt x="0" y="513"/>
                    <a:pt x="0" y="513"/>
                  </a:cubicBezTo>
                  <a:cubicBezTo>
                    <a:pt x="0" y="513"/>
                    <a:pt x="0" y="513"/>
                    <a:pt x="0" y="513"/>
                  </a:cubicBezTo>
                  <a:cubicBezTo>
                    <a:pt x="0" y="513"/>
                    <a:pt x="0" y="513"/>
                    <a:pt x="0" y="513"/>
                  </a:cubicBezTo>
                  <a:cubicBezTo>
                    <a:pt x="0" y="526"/>
                    <a:pt x="7" y="537"/>
                    <a:pt x="17" y="544"/>
                  </a:cubicBezTo>
                  <a:cubicBezTo>
                    <a:pt x="12" y="538"/>
                    <a:pt x="9" y="530"/>
                    <a:pt x="9" y="522"/>
                  </a:cubicBezTo>
                  <a:cubicBezTo>
                    <a:pt x="9" y="208"/>
                    <a:pt x="9" y="208"/>
                    <a:pt x="9" y="208"/>
                  </a:cubicBezTo>
                  <a:cubicBezTo>
                    <a:pt x="323" y="208"/>
                    <a:pt x="323" y="208"/>
                    <a:pt x="323" y="208"/>
                  </a:cubicBezTo>
                  <a:cubicBezTo>
                    <a:pt x="358" y="208"/>
                    <a:pt x="381" y="159"/>
                    <a:pt x="356" y="111"/>
                  </a:cubicBezTo>
                  <a:cubicBezTo>
                    <a:pt x="351" y="102"/>
                    <a:pt x="349" y="93"/>
                    <a:pt x="349" y="84"/>
                  </a:cubicBezTo>
                  <a:cubicBezTo>
                    <a:pt x="349" y="43"/>
                    <a:pt x="395" y="9"/>
                    <a:pt x="452" y="9"/>
                  </a:cubicBezTo>
                  <a:cubicBezTo>
                    <a:pt x="483" y="9"/>
                    <a:pt x="511" y="20"/>
                    <a:pt x="530" y="36"/>
                  </a:cubicBezTo>
                  <a:cubicBezTo>
                    <a:pt x="513" y="15"/>
                    <a:pt x="482" y="1"/>
                    <a:pt x="446" y="0"/>
                  </a:cubicBezTo>
                  <a:cubicBezTo>
                    <a:pt x="446" y="0"/>
                    <a:pt x="446" y="0"/>
                    <a:pt x="446" y="0"/>
                  </a:cubicBezTo>
                  <a:cubicBezTo>
                    <a:pt x="446" y="0"/>
                    <a:pt x="446" y="0"/>
                    <a:pt x="446" y="0"/>
                  </a:cubicBezTo>
                  <a:cubicBezTo>
                    <a:pt x="446" y="0"/>
                    <a:pt x="446" y="0"/>
                    <a:pt x="446" y="0"/>
                  </a:cubicBezTo>
                  <a:cubicBezTo>
                    <a:pt x="446" y="0"/>
                    <a:pt x="445" y="0"/>
                    <a:pt x="445" y="0"/>
                  </a:cubicBezTo>
                  <a:cubicBezTo>
                    <a:pt x="445" y="0"/>
                    <a:pt x="445" y="0"/>
                    <a:pt x="445" y="0"/>
                  </a:cubicBezTo>
                  <a:cubicBezTo>
                    <a:pt x="445" y="0"/>
                    <a:pt x="445" y="0"/>
                    <a:pt x="445" y="0"/>
                  </a:cubicBezTo>
                  <a:cubicBezTo>
                    <a:pt x="445" y="0"/>
                    <a:pt x="445" y="0"/>
                    <a:pt x="445" y="0"/>
                  </a:cubicBezTo>
                  <a:cubicBezTo>
                    <a:pt x="445" y="0"/>
                    <a:pt x="445" y="0"/>
                    <a:pt x="445" y="0"/>
                  </a:cubicBezTo>
                  <a:cubicBezTo>
                    <a:pt x="445" y="0"/>
                    <a:pt x="445" y="0"/>
                    <a:pt x="444" y="0"/>
                  </a:cubicBezTo>
                  <a:cubicBezTo>
                    <a:pt x="444" y="0"/>
                    <a:pt x="444" y="0"/>
                    <a:pt x="444" y="0"/>
                  </a:cubicBezTo>
                  <a:cubicBezTo>
                    <a:pt x="444" y="0"/>
                    <a:pt x="444" y="0"/>
                    <a:pt x="444" y="0"/>
                  </a:cubicBezTo>
                  <a:cubicBezTo>
                    <a:pt x="444" y="0"/>
                    <a:pt x="444" y="0"/>
                    <a:pt x="444" y="0"/>
                  </a:cubicBezTo>
                  <a:cubicBezTo>
                    <a:pt x="444" y="0"/>
                    <a:pt x="444" y="0"/>
                    <a:pt x="444" y="0"/>
                  </a:cubicBezTo>
                  <a:cubicBezTo>
                    <a:pt x="444" y="0"/>
                    <a:pt x="443" y="0"/>
                    <a:pt x="443" y="0"/>
                  </a:cubicBezTo>
                  <a:cubicBezTo>
                    <a:pt x="443" y="0"/>
                    <a:pt x="443" y="0"/>
                    <a:pt x="443" y="0"/>
                  </a:cubicBezTo>
                  <a:cubicBezTo>
                    <a:pt x="443" y="0"/>
                    <a:pt x="443" y="0"/>
                    <a:pt x="443" y="0"/>
                  </a:cubicBezTo>
                  <a:cubicBezTo>
                    <a:pt x="443" y="0"/>
                    <a:pt x="443" y="0"/>
                    <a:pt x="443" y="0"/>
                  </a:cubicBezTo>
                  <a:cubicBezTo>
                    <a:pt x="443" y="0"/>
                    <a:pt x="443" y="0"/>
                    <a:pt x="443" y="0"/>
                  </a:cubicBez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11"/>
            <p:cNvSpPr>
              <a:spLocks/>
            </p:cNvSpPr>
            <p:nvPr/>
          </p:nvSpPr>
          <p:spPr bwMode="auto">
            <a:xfrm>
              <a:off x="6537325" y="4939027"/>
              <a:ext cx="271463" cy="12700"/>
            </a:xfrm>
            <a:custGeom>
              <a:avLst/>
              <a:gdLst>
                <a:gd name="T0" fmla="*/ 0 w 336"/>
                <a:gd name="T1" fmla="*/ 0 h 16"/>
                <a:gd name="T2" fmla="*/ 31 w 336"/>
                <a:gd name="T3" fmla="*/ 16 h 16"/>
                <a:gd name="T4" fmla="*/ 336 w 336"/>
                <a:gd name="T5" fmla="*/ 16 h 16"/>
                <a:gd name="T6" fmla="*/ 336 w 336"/>
                <a:gd name="T7" fmla="*/ 7 h 16"/>
                <a:gd name="T8" fmla="*/ 22 w 336"/>
                <a:gd name="T9" fmla="*/ 7 h 16"/>
                <a:gd name="T10" fmla="*/ 22 w 336"/>
                <a:gd name="T11" fmla="*/ 7 h 16"/>
                <a:gd name="T12" fmla="*/ 22 w 336"/>
                <a:gd name="T13" fmla="*/ 7 h 16"/>
                <a:gd name="T14" fmla="*/ 22 w 336"/>
                <a:gd name="T15" fmla="*/ 7 h 16"/>
                <a:gd name="T16" fmla="*/ 22 w 336"/>
                <a:gd name="T17" fmla="*/ 7 h 16"/>
                <a:gd name="T18" fmla="*/ 22 w 336"/>
                <a:gd name="T19" fmla="*/ 7 h 16"/>
                <a:gd name="T20" fmla="*/ 22 w 336"/>
                <a:gd name="T21" fmla="*/ 7 h 16"/>
                <a:gd name="T22" fmla="*/ 0 w 336"/>
                <a:gd name="T2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6" h="16">
                  <a:moveTo>
                    <a:pt x="0" y="0"/>
                  </a:moveTo>
                  <a:cubicBezTo>
                    <a:pt x="8" y="10"/>
                    <a:pt x="19" y="16"/>
                    <a:pt x="31" y="16"/>
                  </a:cubicBezTo>
                  <a:cubicBezTo>
                    <a:pt x="336" y="16"/>
                    <a:pt x="336" y="16"/>
                    <a:pt x="336" y="16"/>
                  </a:cubicBezTo>
                  <a:cubicBezTo>
                    <a:pt x="336" y="7"/>
                    <a:pt x="336" y="7"/>
                    <a:pt x="336" y="7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14" y="7"/>
                    <a:pt x="6" y="4"/>
                    <a:pt x="0" y="0"/>
                  </a:cubicBez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13"/>
            <p:cNvSpPr>
              <a:spLocks/>
            </p:cNvSpPr>
            <p:nvPr/>
          </p:nvSpPr>
          <p:spPr bwMode="auto">
            <a:xfrm>
              <a:off x="6096000" y="5237477"/>
              <a:ext cx="166688" cy="420687"/>
            </a:xfrm>
            <a:custGeom>
              <a:avLst/>
              <a:gdLst>
                <a:gd name="T0" fmla="*/ 173 w 208"/>
                <a:gd name="T1" fmla="*/ 0 h 521"/>
                <a:gd name="T2" fmla="*/ 199 w 208"/>
                <a:gd name="T3" fmla="*/ 76 h 521"/>
                <a:gd name="T4" fmla="*/ 199 w 208"/>
                <a:gd name="T5" fmla="*/ 76 h 521"/>
                <a:gd name="T6" fmla="*/ 199 w 208"/>
                <a:gd name="T7" fmla="*/ 77 h 521"/>
                <a:gd name="T8" fmla="*/ 199 w 208"/>
                <a:gd name="T9" fmla="*/ 77 h 521"/>
                <a:gd name="T10" fmla="*/ 199 w 208"/>
                <a:gd name="T11" fmla="*/ 77 h 521"/>
                <a:gd name="T12" fmla="*/ 199 w 208"/>
                <a:gd name="T13" fmla="*/ 77 h 521"/>
                <a:gd name="T14" fmla="*/ 199 w 208"/>
                <a:gd name="T15" fmla="*/ 77 h 521"/>
                <a:gd name="T16" fmla="*/ 199 w 208"/>
                <a:gd name="T17" fmla="*/ 77 h 521"/>
                <a:gd name="T18" fmla="*/ 199 w 208"/>
                <a:gd name="T19" fmla="*/ 78 h 521"/>
                <a:gd name="T20" fmla="*/ 199 w 208"/>
                <a:gd name="T21" fmla="*/ 78 h 521"/>
                <a:gd name="T22" fmla="*/ 199 w 208"/>
                <a:gd name="T23" fmla="*/ 78 h 521"/>
                <a:gd name="T24" fmla="*/ 199 w 208"/>
                <a:gd name="T25" fmla="*/ 78 h 521"/>
                <a:gd name="T26" fmla="*/ 199 w 208"/>
                <a:gd name="T27" fmla="*/ 79 h 521"/>
                <a:gd name="T28" fmla="*/ 199 w 208"/>
                <a:gd name="T29" fmla="*/ 79 h 521"/>
                <a:gd name="T30" fmla="*/ 199 w 208"/>
                <a:gd name="T31" fmla="*/ 79 h 521"/>
                <a:gd name="T32" fmla="*/ 199 w 208"/>
                <a:gd name="T33" fmla="*/ 79 h 521"/>
                <a:gd name="T34" fmla="*/ 124 w 208"/>
                <a:gd name="T35" fmla="*/ 181 h 521"/>
                <a:gd name="T36" fmla="*/ 98 w 208"/>
                <a:gd name="T37" fmla="*/ 174 h 521"/>
                <a:gd name="T38" fmla="*/ 56 w 208"/>
                <a:gd name="T39" fmla="*/ 164 h 521"/>
                <a:gd name="T40" fmla="*/ 0 w 208"/>
                <a:gd name="T41" fmla="*/ 207 h 521"/>
                <a:gd name="T42" fmla="*/ 0 w 208"/>
                <a:gd name="T43" fmla="*/ 521 h 521"/>
                <a:gd name="T44" fmla="*/ 9 w 208"/>
                <a:gd name="T45" fmla="*/ 521 h 521"/>
                <a:gd name="T46" fmla="*/ 9 w 208"/>
                <a:gd name="T47" fmla="*/ 216 h 521"/>
                <a:gd name="T48" fmla="*/ 65 w 208"/>
                <a:gd name="T49" fmla="*/ 173 h 521"/>
                <a:gd name="T50" fmla="*/ 107 w 208"/>
                <a:gd name="T51" fmla="*/ 183 h 521"/>
                <a:gd name="T52" fmla="*/ 133 w 208"/>
                <a:gd name="T53" fmla="*/ 190 h 521"/>
                <a:gd name="T54" fmla="*/ 208 w 208"/>
                <a:gd name="T55" fmla="*/ 88 h 521"/>
                <a:gd name="T56" fmla="*/ 173 w 208"/>
                <a:gd name="T57" fmla="*/ 0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08" h="521">
                  <a:moveTo>
                    <a:pt x="173" y="0"/>
                  </a:moveTo>
                  <a:cubicBezTo>
                    <a:pt x="188" y="19"/>
                    <a:pt x="198" y="46"/>
                    <a:pt x="199" y="76"/>
                  </a:cubicBezTo>
                  <a:cubicBezTo>
                    <a:pt x="199" y="76"/>
                    <a:pt x="199" y="76"/>
                    <a:pt x="199" y="76"/>
                  </a:cubicBezTo>
                  <a:cubicBezTo>
                    <a:pt x="199" y="76"/>
                    <a:pt x="199" y="77"/>
                    <a:pt x="199" y="77"/>
                  </a:cubicBezTo>
                  <a:cubicBezTo>
                    <a:pt x="199" y="77"/>
                    <a:pt x="199" y="77"/>
                    <a:pt x="199" y="77"/>
                  </a:cubicBezTo>
                  <a:cubicBezTo>
                    <a:pt x="199" y="77"/>
                    <a:pt x="199" y="77"/>
                    <a:pt x="199" y="77"/>
                  </a:cubicBezTo>
                  <a:cubicBezTo>
                    <a:pt x="199" y="77"/>
                    <a:pt x="199" y="77"/>
                    <a:pt x="199" y="77"/>
                  </a:cubicBezTo>
                  <a:cubicBezTo>
                    <a:pt x="199" y="77"/>
                    <a:pt x="199" y="77"/>
                    <a:pt x="199" y="77"/>
                  </a:cubicBezTo>
                  <a:cubicBezTo>
                    <a:pt x="199" y="77"/>
                    <a:pt x="199" y="77"/>
                    <a:pt x="199" y="77"/>
                  </a:cubicBezTo>
                  <a:cubicBezTo>
                    <a:pt x="199" y="78"/>
                    <a:pt x="199" y="78"/>
                    <a:pt x="199" y="78"/>
                  </a:cubicBezTo>
                  <a:cubicBezTo>
                    <a:pt x="199" y="78"/>
                    <a:pt x="199" y="78"/>
                    <a:pt x="199" y="78"/>
                  </a:cubicBezTo>
                  <a:cubicBezTo>
                    <a:pt x="199" y="78"/>
                    <a:pt x="199" y="78"/>
                    <a:pt x="199" y="78"/>
                  </a:cubicBezTo>
                  <a:cubicBezTo>
                    <a:pt x="199" y="78"/>
                    <a:pt x="199" y="78"/>
                    <a:pt x="199" y="78"/>
                  </a:cubicBezTo>
                  <a:cubicBezTo>
                    <a:pt x="199" y="78"/>
                    <a:pt x="199" y="78"/>
                    <a:pt x="199" y="79"/>
                  </a:cubicBezTo>
                  <a:cubicBezTo>
                    <a:pt x="199" y="79"/>
                    <a:pt x="199" y="79"/>
                    <a:pt x="199" y="79"/>
                  </a:cubicBezTo>
                  <a:cubicBezTo>
                    <a:pt x="199" y="79"/>
                    <a:pt x="199" y="79"/>
                    <a:pt x="199" y="79"/>
                  </a:cubicBezTo>
                  <a:cubicBezTo>
                    <a:pt x="199" y="79"/>
                    <a:pt x="199" y="79"/>
                    <a:pt x="199" y="79"/>
                  </a:cubicBezTo>
                  <a:cubicBezTo>
                    <a:pt x="199" y="135"/>
                    <a:pt x="165" y="181"/>
                    <a:pt x="124" y="181"/>
                  </a:cubicBezTo>
                  <a:cubicBezTo>
                    <a:pt x="115" y="181"/>
                    <a:pt x="106" y="179"/>
                    <a:pt x="98" y="174"/>
                  </a:cubicBezTo>
                  <a:cubicBezTo>
                    <a:pt x="83" y="167"/>
                    <a:pt x="69" y="164"/>
                    <a:pt x="56" y="164"/>
                  </a:cubicBezTo>
                  <a:cubicBezTo>
                    <a:pt x="25" y="164"/>
                    <a:pt x="0" y="182"/>
                    <a:pt x="0" y="207"/>
                  </a:cubicBezTo>
                  <a:cubicBezTo>
                    <a:pt x="0" y="521"/>
                    <a:pt x="0" y="521"/>
                    <a:pt x="0" y="521"/>
                  </a:cubicBezTo>
                  <a:cubicBezTo>
                    <a:pt x="9" y="521"/>
                    <a:pt x="9" y="521"/>
                    <a:pt x="9" y="521"/>
                  </a:cubicBezTo>
                  <a:cubicBezTo>
                    <a:pt x="9" y="216"/>
                    <a:pt x="9" y="216"/>
                    <a:pt x="9" y="216"/>
                  </a:cubicBezTo>
                  <a:cubicBezTo>
                    <a:pt x="9" y="191"/>
                    <a:pt x="34" y="173"/>
                    <a:pt x="65" y="173"/>
                  </a:cubicBezTo>
                  <a:cubicBezTo>
                    <a:pt x="78" y="173"/>
                    <a:pt x="92" y="176"/>
                    <a:pt x="107" y="183"/>
                  </a:cubicBezTo>
                  <a:cubicBezTo>
                    <a:pt x="115" y="188"/>
                    <a:pt x="124" y="190"/>
                    <a:pt x="133" y="190"/>
                  </a:cubicBezTo>
                  <a:cubicBezTo>
                    <a:pt x="174" y="190"/>
                    <a:pt x="208" y="144"/>
                    <a:pt x="208" y="88"/>
                  </a:cubicBezTo>
                  <a:cubicBezTo>
                    <a:pt x="208" y="51"/>
                    <a:pt x="194" y="18"/>
                    <a:pt x="173" y="0"/>
                  </a:cubicBez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15"/>
            <p:cNvSpPr>
              <a:spLocks/>
            </p:cNvSpPr>
            <p:nvPr/>
          </p:nvSpPr>
          <p:spPr bwMode="auto">
            <a:xfrm>
              <a:off x="6677025" y="5370827"/>
              <a:ext cx="125413" cy="20637"/>
            </a:xfrm>
            <a:custGeom>
              <a:avLst/>
              <a:gdLst>
                <a:gd name="T0" fmla="*/ 107 w 156"/>
                <a:gd name="T1" fmla="*/ 0 h 26"/>
                <a:gd name="T2" fmla="*/ 66 w 156"/>
                <a:gd name="T3" fmla="*/ 10 h 26"/>
                <a:gd name="T4" fmla="*/ 66 w 156"/>
                <a:gd name="T5" fmla="*/ 10 h 26"/>
                <a:gd name="T6" fmla="*/ 39 w 156"/>
                <a:gd name="T7" fmla="*/ 17 h 26"/>
                <a:gd name="T8" fmla="*/ 39 w 156"/>
                <a:gd name="T9" fmla="*/ 17 h 26"/>
                <a:gd name="T10" fmla="*/ 39 w 156"/>
                <a:gd name="T11" fmla="*/ 17 h 26"/>
                <a:gd name="T12" fmla="*/ 38 w 156"/>
                <a:gd name="T13" fmla="*/ 17 h 26"/>
                <a:gd name="T14" fmla="*/ 38 w 156"/>
                <a:gd name="T15" fmla="*/ 17 h 26"/>
                <a:gd name="T16" fmla="*/ 38 w 156"/>
                <a:gd name="T17" fmla="*/ 17 h 26"/>
                <a:gd name="T18" fmla="*/ 38 w 156"/>
                <a:gd name="T19" fmla="*/ 17 h 26"/>
                <a:gd name="T20" fmla="*/ 38 w 156"/>
                <a:gd name="T21" fmla="*/ 17 h 26"/>
                <a:gd name="T22" fmla="*/ 38 w 156"/>
                <a:gd name="T23" fmla="*/ 17 h 26"/>
                <a:gd name="T24" fmla="*/ 37 w 156"/>
                <a:gd name="T25" fmla="*/ 17 h 26"/>
                <a:gd name="T26" fmla="*/ 37 w 156"/>
                <a:gd name="T27" fmla="*/ 17 h 26"/>
                <a:gd name="T28" fmla="*/ 37 w 156"/>
                <a:gd name="T29" fmla="*/ 17 h 26"/>
                <a:gd name="T30" fmla="*/ 37 w 156"/>
                <a:gd name="T31" fmla="*/ 17 h 26"/>
                <a:gd name="T32" fmla="*/ 0 w 156"/>
                <a:gd name="T33" fmla="*/ 2 h 26"/>
                <a:gd name="T34" fmla="*/ 48 w 156"/>
                <a:gd name="T35" fmla="*/ 26 h 26"/>
                <a:gd name="T36" fmla="*/ 75 w 156"/>
                <a:gd name="T37" fmla="*/ 19 h 26"/>
                <a:gd name="T38" fmla="*/ 116 w 156"/>
                <a:gd name="T39" fmla="*/ 9 h 26"/>
                <a:gd name="T40" fmla="*/ 156 w 156"/>
                <a:gd name="T41" fmla="*/ 21 h 26"/>
                <a:gd name="T42" fmla="*/ 107 w 156"/>
                <a:gd name="T43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56" h="26">
                  <a:moveTo>
                    <a:pt x="107" y="0"/>
                  </a:moveTo>
                  <a:cubicBezTo>
                    <a:pt x="94" y="0"/>
                    <a:pt x="80" y="3"/>
                    <a:pt x="66" y="10"/>
                  </a:cubicBezTo>
                  <a:cubicBezTo>
                    <a:pt x="66" y="10"/>
                    <a:pt x="66" y="10"/>
                    <a:pt x="66" y="10"/>
                  </a:cubicBezTo>
                  <a:cubicBezTo>
                    <a:pt x="57" y="15"/>
                    <a:pt x="48" y="17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9" y="17"/>
                    <a:pt x="38" y="17"/>
                    <a:pt x="38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23" y="17"/>
                    <a:pt x="11" y="11"/>
                    <a:pt x="0" y="2"/>
                  </a:cubicBezTo>
                  <a:cubicBezTo>
                    <a:pt x="13" y="17"/>
                    <a:pt x="30" y="26"/>
                    <a:pt x="48" y="26"/>
                  </a:cubicBezTo>
                  <a:cubicBezTo>
                    <a:pt x="57" y="26"/>
                    <a:pt x="66" y="24"/>
                    <a:pt x="75" y="19"/>
                  </a:cubicBezTo>
                  <a:cubicBezTo>
                    <a:pt x="89" y="12"/>
                    <a:pt x="103" y="9"/>
                    <a:pt x="116" y="9"/>
                  </a:cubicBezTo>
                  <a:cubicBezTo>
                    <a:pt x="132" y="9"/>
                    <a:pt x="146" y="13"/>
                    <a:pt x="156" y="21"/>
                  </a:cubicBezTo>
                  <a:cubicBezTo>
                    <a:pt x="146" y="8"/>
                    <a:pt x="128" y="0"/>
                    <a:pt x="107" y="0"/>
                  </a:cubicBez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16"/>
            <p:cNvSpPr>
              <a:spLocks/>
            </p:cNvSpPr>
            <p:nvPr/>
          </p:nvSpPr>
          <p:spPr bwMode="auto">
            <a:xfrm>
              <a:off x="6100763" y="5212077"/>
              <a:ext cx="125413" cy="26987"/>
            </a:xfrm>
            <a:custGeom>
              <a:avLst/>
              <a:gdLst>
                <a:gd name="T0" fmla="*/ 91 w 156"/>
                <a:gd name="T1" fmla="*/ 16 h 35"/>
                <a:gd name="T2" fmla="*/ 117 w 156"/>
                <a:gd name="T3" fmla="*/ 9 h 35"/>
                <a:gd name="T4" fmla="*/ 156 w 156"/>
                <a:gd name="T5" fmla="*/ 24 h 35"/>
                <a:gd name="T6" fmla="*/ 108 w 156"/>
                <a:gd name="T7" fmla="*/ 0 h 35"/>
                <a:gd name="T8" fmla="*/ 81 w 156"/>
                <a:gd name="T9" fmla="*/ 6 h 35"/>
                <a:gd name="T10" fmla="*/ 0 w 156"/>
                <a:gd name="T11" fmla="*/ 5 h 35"/>
                <a:gd name="T12" fmla="*/ 91 w 156"/>
                <a:gd name="T13" fmla="*/ 16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35">
                  <a:moveTo>
                    <a:pt x="91" y="16"/>
                  </a:moveTo>
                  <a:cubicBezTo>
                    <a:pt x="99" y="11"/>
                    <a:pt x="108" y="9"/>
                    <a:pt x="117" y="9"/>
                  </a:cubicBezTo>
                  <a:cubicBezTo>
                    <a:pt x="131" y="9"/>
                    <a:pt x="145" y="14"/>
                    <a:pt x="156" y="24"/>
                  </a:cubicBezTo>
                  <a:cubicBezTo>
                    <a:pt x="143" y="9"/>
                    <a:pt x="126" y="0"/>
                    <a:pt x="108" y="0"/>
                  </a:cubicBezTo>
                  <a:cubicBezTo>
                    <a:pt x="99" y="0"/>
                    <a:pt x="90" y="2"/>
                    <a:pt x="81" y="6"/>
                  </a:cubicBezTo>
                  <a:cubicBezTo>
                    <a:pt x="50" y="22"/>
                    <a:pt x="19" y="19"/>
                    <a:pt x="0" y="5"/>
                  </a:cubicBezTo>
                  <a:cubicBezTo>
                    <a:pt x="16" y="26"/>
                    <a:pt x="54" y="35"/>
                    <a:pt x="91" y="16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17"/>
            <p:cNvSpPr>
              <a:spLocks/>
            </p:cNvSpPr>
            <p:nvPr/>
          </p:nvSpPr>
          <p:spPr bwMode="auto">
            <a:xfrm>
              <a:off x="6096000" y="5650227"/>
              <a:ext cx="269875" cy="14287"/>
            </a:xfrm>
            <a:custGeom>
              <a:avLst/>
              <a:gdLst>
                <a:gd name="T0" fmla="*/ 305 w 336"/>
                <a:gd name="T1" fmla="*/ 0 h 17"/>
                <a:gd name="T2" fmla="*/ 0 w 336"/>
                <a:gd name="T3" fmla="*/ 0 h 17"/>
                <a:gd name="T4" fmla="*/ 0 w 336"/>
                <a:gd name="T5" fmla="*/ 9 h 17"/>
                <a:gd name="T6" fmla="*/ 314 w 336"/>
                <a:gd name="T7" fmla="*/ 9 h 17"/>
                <a:gd name="T8" fmla="*/ 336 w 336"/>
                <a:gd name="T9" fmla="*/ 17 h 17"/>
                <a:gd name="T10" fmla="*/ 305 w 336"/>
                <a:gd name="T11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6" h="17">
                  <a:moveTo>
                    <a:pt x="30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314" y="9"/>
                    <a:pt x="314" y="9"/>
                    <a:pt x="314" y="9"/>
                  </a:cubicBezTo>
                  <a:cubicBezTo>
                    <a:pt x="322" y="9"/>
                    <a:pt x="330" y="12"/>
                    <a:pt x="336" y="17"/>
                  </a:cubicBezTo>
                  <a:cubicBezTo>
                    <a:pt x="328" y="6"/>
                    <a:pt x="317" y="0"/>
                    <a:pt x="305" y="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18"/>
            <p:cNvSpPr>
              <a:spLocks/>
            </p:cNvSpPr>
            <p:nvPr/>
          </p:nvSpPr>
          <p:spPr bwMode="auto">
            <a:xfrm>
              <a:off x="6505575" y="4805677"/>
              <a:ext cx="28575" cy="125412"/>
            </a:xfrm>
            <a:custGeom>
              <a:avLst/>
              <a:gdLst>
                <a:gd name="T0" fmla="*/ 30 w 35"/>
                <a:gd name="T1" fmla="*/ 155 h 155"/>
                <a:gd name="T2" fmla="*/ 29 w 35"/>
                <a:gd name="T3" fmla="*/ 74 h 155"/>
                <a:gd name="T4" fmla="*/ 35 w 35"/>
                <a:gd name="T5" fmla="*/ 48 h 155"/>
                <a:gd name="T6" fmla="*/ 11 w 35"/>
                <a:gd name="T7" fmla="*/ 0 h 155"/>
                <a:gd name="T8" fmla="*/ 26 w 35"/>
                <a:gd name="T9" fmla="*/ 39 h 155"/>
                <a:gd name="T10" fmla="*/ 19 w 35"/>
                <a:gd name="T11" fmla="*/ 65 h 155"/>
                <a:gd name="T12" fmla="*/ 30 w 35"/>
                <a:gd name="T13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155">
                  <a:moveTo>
                    <a:pt x="30" y="155"/>
                  </a:moveTo>
                  <a:cubicBezTo>
                    <a:pt x="16" y="137"/>
                    <a:pt x="12" y="105"/>
                    <a:pt x="29" y="74"/>
                  </a:cubicBezTo>
                  <a:cubicBezTo>
                    <a:pt x="33" y="66"/>
                    <a:pt x="35" y="57"/>
                    <a:pt x="35" y="48"/>
                  </a:cubicBezTo>
                  <a:cubicBezTo>
                    <a:pt x="35" y="29"/>
                    <a:pt x="26" y="13"/>
                    <a:pt x="11" y="0"/>
                  </a:cubicBezTo>
                  <a:cubicBezTo>
                    <a:pt x="21" y="11"/>
                    <a:pt x="26" y="24"/>
                    <a:pt x="26" y="39"/>
                  </a:cubicBezTo>
                  <a:cubicBezTo>
                    <a:pt x="26" y="48"/>
                    <a:pt x="24" y="57"/>
                    <a:pt x="19" y="65"/>
                  </a:cubicBezTo>
                  <a:cubicBezTo>
                    <a:pt x="0" y="102"/>
                    <a:pt x="9" y="140"/>
                    <a:pt x="30" y="155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19"/>
            <p:cNvSpPr>
              <a:spLocks/>
            </p:cNvSpPr>
            <p:nvPr/>
          </p:nvSpPr>
          <p:spPr bwMode="auto">
            <a:xfrm>
              <a:off x="6640513" y="4943790"/>
              <a:ext cx="168275" cy="420687"/>
            </a:xfrm>
            <a:custGeom>
              <a:avLst/>
              <a:gdLst>
                <a:gd name="T0" fmla="*/ 199 w 208"/>
                <a:gd name="T1" fmla="*/ 0 h 521"/>
                <a:gd name="T2" fmla="*/ 199 w 208"/>
                <a:gd name="T3" fmla="*/ 305 h 521"/>
                <a:gd name="T4" fmla="*/ 101 w 208"/>
                <a:gd name="T5" fmla="*/ 337 h 521"/>
                <a:gd name="T6" fmla="*/ 75 w 208"/>
                <a:gd name="T7" fmla="*/ 331 h 521"/>
                <a:gd name="T8" fmla="*/ 0 w 208"/>
                <a:gd name="T9" fmla="*/ 433 h 521"/>
                <a:gd name="T10" fmla="*/ 36 w 208"/>
                <a:gd name="T11" fmla="*/ 521 h 521"/>
                <a:gd name="T12" fmla="*/ 9 w 208"/>
                <a:gd name="T13" fmla="*/ 443 h 521"/>
                <a:gd name="T14" fmla="*/ 84 w 208"/>
                <a:gd name="T15" fmla="*/ 340 h 521"/>
                <a:gd name="T16" fmla="*/ 111 w 208"/>
                <a:gd name="T17" fmla="*/ 347 h 521"/>
                <a:gd name="T18" fmla="*/ 208 w 208"/>
                <a:gd name="T19" fmla="*/ 314 h 521"/>
                <a:gd name="T20" fmla="*/ 208 w 208"/>
                <a:gd name="T21" fmla="*/ 0 h 521"/>
                <a:gd name="T22" fmla="*/ 199 w 208"/>
                <a:gd name="T23" fmla="*/ 0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08" h="521">
                  <a:moveTo>
                    <a:pt x="199" y="0"/>
                  </a:moveTo>
                  <a:cubicBezTo>
                    <a:pt x="199" y="305"/>
                    <a:pt x="199" y="305"/>
                    <a:pt x="199" y="305"/>
                  </a:cubicBezTo>
                  <a:cubicBezTo>
                    <a:pt x="199" y="340"/>
                    <a:pt x="150" y="363"/>
                    <a:pt x="101" y="337"/>
                  </a:cubicBezTo>
                  <a:cubicBezTo>
                    <a:pt x="93" y="333"/>
                    <a:pt x="84" y="331"/>
                    <a:pt x="75" y="331"/>
                  </a:cubicBezTo>
                  <a:cubicBezTo>
                    <a:pt x="34" y="331"/>
                    <a:pt x="0" y="377"/>
                    <a:pt x="0" y="433"/>
                  </a:cubicBezTo>
                  <a:cubicBezTo>
                    <a:pt x="0" y="470"/>
                    <a:pt x="14" y="503"/>
                    <a:pt x="36" y="521"/>
                  </a:cubicBezTo>
                  <a:cubicBezTo>
                    <a:pt x="20" y="502"/>
                    <a:pt x="9" y="474"/>
                    <a:pt x="9" y="443"/>
                  </a:cubicBezTo>
                  <a:cubicBezTo>
                    <a:pt x="9" y="386"/>
                    <a:pt x="43" y="340"/>
                    <a:pt x="84" y="340"/>
                  </a:cubicBezTo>
                  <a:cubicBezTo>
                    <a:pt x="93" y="340"/>
                    <a:pt x="102" y="342"/>
                    <a:pt x="111" y="347"/>
                  </a:cubicBezTo>
                  <a:cubicBezTo>
                    <a:pt x="159" y="372"/>
                    <a:pt x="208" y="349"/>
                    <a:pt x="208" y="314"/>
                  </a:cubicBezTo>
                  <a:cubicBezTo>
                    <a:pt x="208" y="0"/>
                    <a:pt x="208" y="0"/>
                    <a:pt x="208" y="0"/>
                  </a:cubicBezTo>
                  <a:lnTo>
                    <a:pt x="199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20"/>
            <p:cNvSpPr>
              <a:spLocks/>
            </p:cNvSpPr>
            <p:nvPr/>
          </p:nvSpPr>
          <p:spPr bwMode="auto">
            <a:xfrm>
              <a:off x="6381750" y="5380352"/>
              <a:ext cx="427038" cy="438150"/>
            </a:xfrm>
            <a:custGeom>
              <a:avLst/>
              <a:gdLst>
                <a:gd name="T0" fmla="*/ 513 w 530"/>
                <a:gd name="T1" fmla="*/ 0 h 544"/>
                <a:gd name="T2" fmla="*/ 521 w 530"/>
                <a:gd name="T3" fmla="*/ 22 h 544"/>
                <a:gd name="T4" fmla="*/ 521 w 530"/>
                <a:gd name="T5" fmla="*/ 336 h 544"/>
                <a:gd name="T6" fmla="*/ 207 w 530"/>
                <a:gd name="T7" fmla="*/ 336 h 544"/>
                <a:gd name="T8" fmla="*/ 174 w 530"/>
                <a:gd name="T9" fmla="*/ 433 h 544"/>
                <a:gd name="T10" fmla="*/ 181 w 530"/>
                <a:gd name="T11" fmla="*/ 460 h 544"/>
                <a:gd name="T12" fmla="*/ 78 w 530"/>
                <a:gd name="T13" fmla="*/ 535 h 544"/>
                <a:gd name="T14" fmla="*/ 0 w 530"/>
                <a:gd name="T15" fmla="*/ 508 h 544"/>
                <a:gd name="T16" fmla="*/ 88 w 530"/>
                <a:gd name="T17" fmla="*/ 544 h 544"/>
                <a:gd name="T18" fmla="*/ 190 w 530"/>
                <a:gd name="T19" fmla="*/ 469 h 544"/>
                <a:gd name="T20" fmla="*/ 184 w 530"/>
                <a:gd name="T21" fmla="*/ 443 h 544"/>
                <a:gd name="T22" fmla="*/ 216 w 530"/>
                <a:gd name="T23" fmla="*/ 345 h 544"/>
                <a:gd name="T24" fmla="*/ 530 w 530"/>
                <a:gd name="T25" fmla="*/ 345 h 544"/>
                <a:gd name="T26" fmla="*/ 530 w 530"/>
                <a:gd name="T27" fmla="*/ 31 h 544"/>
                <a:gd name="T28" fmla="*/ 513 w 530"/>
                <a:gd name="T29" fmla="*/ 0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0" h="544">
                  <a:moveTo>
                    <a:pt x="513" y="0"/>
                  </a:moveTo>
                  <a:cubicBezTo>
                    <a:pt x="518" y="6"/>
                    <a:pt x="521" y="14"/>
                    <a:pt x="521" y="22"/>
                  </a:cubicBezTo>
                  <a:cubicBezTo>
                    <a:pt x="521" y="336"/>
                    <a:pt x="521" y="336"/>
                    <a:pt x="521" y="336"/>
                  </a:cubicBezTo>
                  <a:cubicBezTo>
                    <a:pt x="207" y="336"/>
                    <a:pt x="207" y="336"/>
                    <a:pt x="207" y="336"/>
                  </a:cubicBezTo>
                  <a:cubicBezTo>
                    <a:pt x="172" y="336"/>
                    <a:pt x="149" y="385"/>
                    <a:pt x="174" y="433"/>
                  </a:cubicBezTo>
                  <a:cubicBezTo>
                    <a:pt x="179" y="442"/>
                    <a:pt x="181" y="451"/>
                    <a:pt x="181" y="460"/>
                  </a:cubicBezTo>
                  <a:cubicBezTo>
                    <a:pt x="181" y="501"/>
                    <a:pt x="135" y="535"/>
                    <a:pt x="78" y="535"/>
                  </a:cubicBezTo>
                  <a:cubicBezTo>
                    <a:pt x="47" y="535"/>
                    <a:pt x="19" y="524"/>
                    <a:pt x="0" y="508"/>
                  </a:cubicBezTo>
                  <a:cubicBezTo>
                    <a:pt x="18" y="530"/>
                    <a:pt x="51" y="544"/>
                    <a:pt x="88" y="544"/>
                  </a:cubicBezTo>
                  <a:cubicBezTo>
                    <a:pt x="144" y="544"/>
                    <a:pt x="190" y="510"/>
                    <a:pt x="190" y="469"/>
                  </a:cubicBezTo>
                  <a:cubicBezTo>
                    <a:pt x="190" y="460"/>
                    <a:pt x="188" y="451"/>
                    <a:pt x="184" y="443"/>
                  </a:cubicBezTo>
                  <a:cubicBezTo>
                    <a:pt x="158" y="394"/>
                    <a:pt x="181" y="345"/>
                    <a:pt x="216" y="345"/>
                  </a:cubicBezTo>
                  <a:cubicBezTo>
                    <a:pt x="530" y="345"/>
                    <a:pt x="530" y="345"/>
                    <a:pt x="530" y="345"/>
                  </a:cubicBezTo>
                  <a:cubicBezTo>
                    <a:pt x="530" y="31"/>
                    <a:pt x="530" y="31"/>
                    <a:pt x="530" y="31"/>
                  </a:cubicBezTo>
                  <a:cubicBezTo>
                    <a:pt x="530" y="19"/>
                    <a:pt x="524" y="8"/>
                    <a:pt x="513" y="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5" name="Group 27"/>
          <p:cNvGrpSpPr/>
          <p:nvPr/>
        </p:nvGrpSpPr>
        <p:grpSpPr>
          <a:xfrm>
            <a:off x="6743218" y="4706282"/>
            <a:ext cx="1093687" cy="754845"/>
            <a:chOff x="7073900" y="4943790"/>
            <a:chExt cx="1035051" cy="714375"/>
          </a:xfrm>
        </p:grpSpPr>
        <p:sp>
          <p:nvSpPr>
            <p:cNvPr id="146" name="Freeform 23"/>
            <p:cNvSpPr>
              <a:spLocks/>
            </p:cNvSpPr>
            <p:nvPr/>
          </p:nvSpPr>
          <p:spPr bwMode="auto">
            <a:xfrm>
              <a:off x="7073900" y="4943790"/>
              <a:ext cx="1035050" cy="714375"/>
            </a:xfrm>
            <a:custGeom>
              <a:avLst/>
              <a:gdLst>
                <a:gd name="T0" fmla="*/ 1208 w 1283"/>
                <a:gd name="T1" fmla="*/ 340 h 885"/>
                <a:gd name="T2" fmla="*/ 1181 w 1283"/>
                <a:gd name="T3" fmla="*/ 347 h 885"/>
                <a:gd name="T4" fmla="*/ 1084 w 1283"/>
                <a:gd name="T5" fmla="*/ 314 h 885"/>
                <a:gd name="T6" fmla="*/ 1084 w 1283"/>
                <a:gd name="T7" fmla="*/ 0 h 885"/>
                <a:gd name="T8" fmla="*/ 770 w 1283"/>
                <a:gd name="T9" fmla="*/ 0 h 885"/>
                <a:gd name="T10" fmla="*/ 737 w 1283"/>
                <a:gd name="T11" fmla="*/ 98 h 885"/>
                <a:gd name="T12" fmla="*/ 744 w 1283"/>
                <a:gd name="T13" fmla="*/ 124 h 885"/>
                <a:gd name="T14" fmla="*/ 641 w 1283"/>
                <a:gd name="T15" fmla="*/ 199 h 885"/>
                <a:gd name="T16" fmla="*/ 539 w 1283"/>
                <a:gd name="T17" fmla="*/ 124 h 885"/>
                <a:gd name="T18" fmla="*/ 545 w 1283"/>
                <a:gd name="T19" fmla="*/ 98 h 885"/>
                <a:gd name="T20" fmla="*/ 513 w 1283"/>
                <a:gd name="T21" fmla="*/ 0 h 885"/>
                <a:gd name="T22" fmla="*/ 199 w 1283"/>
                <a:gd name="T23" fmla="*/ 0 h 885"/>
                <a:gd name="T24" fmla="*/ 199 w 1283"/>
                <a:gd name="T25" fmla="*/ 314 h 885"/>
                <a:gd name="T26" fmla="*/ 101 w 1283"/>
                <a:gd name="T27" fmla="*/ 347 h 885"/>
                <a:gd name="T28" fmla="*/ 75 w 1283"/>
                <a:gd name="T29" fmla="*/ 340 h 885"/>
                <a:gd name="T30" fmla="*/ 0 w 1283"/>
                <a:gd name="T31" fmla="*/ 443 h 885"/>
                <a:gd name="T32" fmla="*/ 75 w 1283"/>
                <a:gd name="T33" fmla="*/ 545 h 885"/>
                <a:gd name="T34" fmla="*/ 101 w 1283"/>
                <a:gd name="T35" fmla="*/ 538 h 885"/>
                <a:gd name="T36" fmla="*/ 199 w 1283"/>
                <a:gd name="T37" fmla="*/ 571 h 885"/>
                <a:gd name="T38" fmla="*/ 199 w 1283"/>
                <a:gd name="T39" fmla="*/ 885 h 885"/>
                <a:gd name="T40" fmla="*/ 513 w 1283"/>
                <a:gd name="T41" fmla="*/ 885 h 885"/>
                <a:gd name="T42" fmla="*/ 545 w 1283"/>
                <a:gd name="T43" fmla="*/ 788 h 885"/>
                <a:gd name="T44" fmla="*/ 539 w 1283"/>
                <a:gd name="T45" fmla="*/ 761 h 885"/>
                <a:gd name="T46" fmla="*/ 641 w 1283"/>
                <a:gd name="T47" fmla="*/ 686 h 885"/>
                <a:gd name="T48" fmla="*/ 744 w 1283"/>
                <a:gd name="T49" fmla="*/ 761 h 885"/>
                <a:gd name="T50" fmla="*/ 737 w 1283"/>
                <a:gd name="T51" fmla="*/ 788 h 885"/>
                <a:gd name="T52" fmla="*/ 770 w 1283"/>
                <a:gd name="T53" fmla="*/ 885 h 885"/>
                <a:gd name="T54" fmla="*/ 1084 w 1283"/>
                <a:gd name="T55" fmla="*/ 885 h 885"/>
                <a:gd name="T56" fmla="*/ 1084 w 1283"/>
                <a:gd name="T57" fmla="*/ 571 h 885"/>
                <a:gd name="T58" fmla="*/ 1181 w 1283"/>
                <a:gd name="T59" fmla="*/ 538 h 885"/>
                <a:gd name="T60" fmla="*/ 1208 w 1283"/>
                <a:gd name="T61" fmla="*/ 545 h 885"/>
                <a:gd name="T62" fmla="*/ 1283 w 1283"/>
                <a:gd name="T63" fmla="*/ 443 h 885"/>
                <a:gd name="T64" fmla="*/ 1208 w 1283"/>
                <a:gd name="T65" fmla="*/ 340 h 8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83" h="885">
                  <a:moveTo>
                    <a:pt x="1208" y="340"/>
                  </a:moveTo>
                  <a:cubicBezTo>
                    <a:pt x="1199" y="340"/>
                    <a:pt x="1190" y="342"/>
                    <a:pt x="1181" y="347"/>
                  </a:cubicBezTo>
                  <a:cubicBezTo>
                    <a:pt x="1133" y="372"/>
                    <a:pt x="1084" y="349"/>
                    <a:pt x="1084" y="314"/>
                  </a:cubicBezTo>
                  <a:cubicBezTo>
                    <a:pt x="1084" y="0"/>
                    <a:pt x="1084" y="0"/>
                    <a:pt x="1084" y="0"/>
                  </a:cubicBezTo>
                  <a:cubicBezTo>
                    <a:pt x="770" y="0"/>
                    <a:pt x="770" y="0"/>
                    <a:pt x="770" y="0"/>
                  </a:cubicBezTo>
                  <a:cubicBezTo>
                    <a:pt x="735" y="0"/>
                    <a:pt x="712" y="49"/>
                    <a:pt x="737" y="98"/>
                  </a:cubicBezTo>
                  <a:cubicBezTo>
                    <a:pt x="742" y="106"/>
                    <a:pt x="744" y="115"/>
                    <a:pt x="744" y="124"/>
                  </a:cubicBezTo>
                  <a:cubicBezTo>
                    <a:pt x="744" y="165"/>
                    <a:pt x="698" y="199"/>
                    <a:pt x="641" y="199"/>
                  </a:cubicBezTo>
                  <a:cubicBezTo>
                    <a:pt x="585" y="199"/>
                    <a:pt x="539" y="165"/>
                    <a:pt x="539" y="124"/>
                  </a:cubicBezTo>
                  <a:cubicBezTo>
                    <a:pt x="539" y="115"/>
                    <a:pt x="541" y="106"/>
                    <a:pt x="545" y="98"/>
                  </a:cubicBezTo>
                  <a:cubicBezTo>
                    <a:pt x="571" y="49"/>
                    <a:pt x="548" y="0"/>
                    <a:pt x="513" y="0"/>
                  </a:cubicBezTo>
                  <a:cubicBezTo>
                    <a:pt x="199" y="0"/>
                    <a:pt x="199" y="0"/>
                    <a:pt x="199" y="0"/>
                  </a:cubicBezTo>
                  <a:cubicBezTo>
                    <a:pt x="199" y="314"/>
                    <a:pt x="199" y="314"/>
                    <a:pt x="199" y="314"/>
                  </a:cubicBezTo>
                  <a:cubicBezTo>
                    <a:pt x="199" y="349"/>
                    <a:pt x="149" y="372"/>
                    <a:pt x="101" y="347"/>
                  </a:cubicBezTo>
                  <a:cubicBezTo>
                    <a:pt x="93" y="342"/>
                    <a:pt x="84" y="340"/>
                    <a:pt x="75" y="340"/>
                  </a:cubicBezTo>
                  <a:cubicBezTo>
                    <a:pt x="33" y="340"/>
                    <a:pt x="0" y="386"/>
                    <a:pt x="0" y="443"/>
                  </a:cubicBezTo>
                  <a:cubicBezTo>
                    <a:pt x="0" y="499"/>
                    <a:pt x="33" y="545"/>
                    <a:pt x="75" y="545"/>
                  </a:cubicBezTo>
                  <a:cubicBezTo>
                    <a:pt x="84" y="545"/>
                    <a:pt x="93" y="543"/>
                    <a:pt x="101" y="538"/>
                  </a:cubicBezTo>
                  <a:cubicBezTo>
                    <a:pt x="149" y="513"/>
                    <a:pt x="199" y="536"/>
                    <a:pt x="199" y="571"/>
                  </a:cubicBezTo>
                  <a:cubicBezTo>
                    <a:pt x="199" y="885"/>
                    <a:pt x="199" y="885"/>
                    <a:pt x="199" y="885"/>
                  </a:cubicBezTo>
                  <a:cubicBezTo>
                    <a:pt x="513" y="885"/>
                    <a:pt x="513" y="885"/>
                    <a:pt x="513" y="885"/>
                  </a:cubicBezTo>
                  <a:cubicBezTo>
                    <a:pt x="548" y="885"/>
                    <a:pt x="571" y="836"/>
                    <a:pt x="545" y="788"/>
                  </a:cubicBezTo>
                  <a:cubicBezTo>
                    <a:pt x="541" y="779"/>
                    <a:pt x="539" y="770"/>
                    <a:pt x="539" y="761"/>
                  </a:cubicBezTo>
                  <a:cubicBezTo>
                    <a:pt x="539" y="720"/>
                    <a:pt x="585" y="686"/>
                    <a:pt x="641" y="686"/>
                  </a:cubicBezTo>
                  <a:cubicBezTo>
                    <a:pt x="698" y="686"/>
                    <a:pt x="744" y="720"/>
                    <a:pt x="744" y="761"/>
                  </a:cubicBezTo>
                  <a:cubicBezTo>
                    <a:pt x="744" y="770"/>
                    <a:pt x="742" y="779"/>
                    <a:pt x="737" y="788"/>
                  </a:cubicBezTo>
                  <a:cubicBezTo>
                    <a:pt x="712" y="836"/>
                    <a:pt x="735" y="885"/>
                    <a:pt x="770" y="885"/>
                  </a:cubicBezTo>
                  <a:cubicBezTo>
                    <a:pt x="1084" y="885"/>
                    <a:pt x="1084" y="885"/>
                    <a:pt x="1084" y="885"/>
                  </a:cubicBezTo>
                  <a:cubicBezTo>
                    <a:pt x="1084" y="571"/>
                    <a:pt x="1084" y="571"/>
                    <a:pt x="1084" y="571"/>
                  </a:cubicBezTo>
                  <a:cubicBezTo>
                    <a:pt x="1084" y="536"/>
                    <a:pt x="1133" y="513"/>
                    <a:pt x="1181" y="538"/>
                  </a:cubicBezTo>
                  <a:cubicBezTo>
                    <a:pt x="1190" y="543"/>
                    <a:pt x="1199" y="545"/>
                    <a:pt x="1208" y="545"/>
                  </a:cubicBezTo>
                  <a:cubicBezTo>
                    <a:pt x="1249" y="545"/>
                    <a:pt x="1283" y="499"/>
                    <a:pt x="1283" y="443"/>
                  </a:cubicBezTo>
                  <a:cubicBezTo>
                    <a:pt x="1283" y="386"/>
                    <a:pt x="1249" y="340"/>
                    <a:pt x="1208" y="340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30"/>
            <p:cNvSpPr>
              <a:spLocks noEditPoints="1"/>
            </p:cNvSpPr>
            <p:nvPr/>
          </p:nvSpPr>
          <p:spPr bwMode="auto">
            <a:xfrm>
              <a:off x="7073900" y="4943790"/>
              <a:ext cx="414338" cy="398462"/>
            </a:xfrm>
            <a:custGeom>
              <a:avLst/>
              <a:gdLst>
                <a:gd name="T0" fmla="*/ 10 w 514"/>
                <a:gd name="T1" fmla="*/ 493 h 493"/>
                <a:gd name="T2" fmla="*/ 10 w 514"/>
                <a:gd name="T3" fmla="*/ 493 h 493"/>
                <a:gd name="T4" fmla="*/ 10 w 514"/>
                <a:gd name="T5" fmla="*/ 493 h 493"/>
                <a:gd name="T6" fmla="*/ 9 w 514"/>
                <a:gd name="T7" fmla="*/ 492 h 493"/>
                <a:gd name="T8" fmla="*/ 9 w 514"/>
                <a:gd name="T9" fmla="*/ 492 h 493"/>
                <a:gd name="T10" fmla="*/ 9 w 514"/>
                <a:gd name="T11" fmla="*/ 492 h 493"/>
                <a:gd name="T12" fmla="*/ 9 w 514"/>
                <a:gd name="T13" fmla="*/ 492 h 493"/>
                <a:gd name="T14" fmla="*/ 0 w 514"/>
                <a:gd name="T15" fmla="*/ 450 h 493"/>
                <a:gd name="T16" fmla="*/ 0 w 514"/>
                <a:gd name="T17" fmla="*/ 450 h 493"/>
                <a:gd name="T18" fmla="*/ 0 w 514"/>
                <a:gd name="T19" fmla="*/ 450 h 493"/>
                <a:gd name="T20" fmla="*/ 0 w 514"/>
                <a:gd name="T21" fmla="*/ 449 h 493"/>
                <a:gd name="T22" fmla="*/ 0 w 514"/>
                <a:gd name="T23" fmla="*/ 449 h 493"/>
                <a:gd name="T24" fmla="*/ 0 w 514"/>
                <a:gd name="T25" fmla="*/ 449 h 493"/>
                <a:gd name="T26" fmla="*/ 0 w 514"/>
                <a:gd name="T27" fmla="*/ 448 h 493"/>
                <a:gd name="T28" fmla="*/ 0 w 514"/>
                <a:gd name="T29" fmla="*/ 448 h 493"/>
                <a:gd name="T30" fmla="*/ 0 w 514"/>
                <a:gd name="T31" fmla="*/ 448 h 493"/>
                <a:gd name="T32" fmla="*/ 0 w 514"/>
                <a:gd name="T33" fmla="*/ 448 h 493"/>
                <a:gd name="T34" fmla="*/ 0 w 514"/>
                <a:gd name="T35" fmla="*/ 448 h 493"/>
                <a:gd name="T36" fmla="*/ 0 w 514"/>
                <a:gd name="T37" fmla="*/ 447 h 493"/>
                <a:gd name="T38" fmla="*/ 0 w 514"/>
                <a:gd name="T39" fmla="*/ 447 h 493"/>
                <a:gd name="T40" fmla="*/ 0 w 514"/>
                <a:gd name="T41" fmla="*/ 447 h 493"/>
                <a:gd name="T42" fmla="*/ 0 w 514"/>
                <a:gd name="T43" fmla="*/ 446 h 493"/>
                <a:gd name="T44" fmla="*/ 0 w 514"/>
                <a:gd name="T45" fmla="*/ 446 h 493"/>
                <a:gd name="T46" fmla="*/ 0 w 514"/>
                <a:gd name="T47" fmla="*/ 446 h 493"/>
                <a:gd name="T48" fmla="*/ 0 w 514"/>
                <a:gd name="T49" fmla="*/ 446 h 493"/>
                <a:gd name="T50" fmla="*/ 0 w 514"/>
                <a:gd name="T51" fmla="*/ 445 h 493"/>
                <a:gd name="T52" fmla="*/ 0 w 514"/>
                <a:gd name="T53" fmla="*/ 445 h 493"/>
                <a:gd name="T54" fmla="*/ 0 w 514"/>
                <a:gd name="T55" fmla="*/ 445 h 493"/>
                <a:gd name="T56" fmla="*/ 0 w 514"/>
                <a:gd name="T57" fmla="*/ 444 h 493"/>
                <a:gd name="T58" fmla="*/ 0 w 514"/>
                <a:gd name="T59" fmla="*/ 444 h 493"/>
                <a:gd name="T60" fmla="*/ 0 w 514"/>
                <a:gd name="T61" fmla="*/ 444 h 493"/>
                <a:gd name="T62" fmla="*/ 0 w 514"/>
                <a:gd name="T63" fmla="*/ 443 h 493"/>
                <a:gd name="T64" fmla="*/ 0 w 514"/>
                <a:gd name="T65" fmla="*/ 443 h 493"/>
                <a:gd name="T66" fmla="*/ 0 w 514"/>
                <a:gd name="T67" fmla="*/ 443 h 493"/>
                <a:gd name="T68" fmla="*/ 514 w 514"/>
                <a:gd name="T69" fmla="*/ 0 h 493"/>
                <a:gd name="T70" fmla="*/ 514 w 514"/>
                <a:gd name="T71" fmla="*/ 0 h 493"/>
                <a:gd name="T72" fmla="*/ 514 w 514"/>
                <a:gd name="T73" fmla="*/ 0 h 493"/>
                <a:gd name="T74" fmla="*/ 513 w 514"/>
                <a:gd name="T75" fmla="*/ 0 h 493"/>
                <a:gd name="T76" fmla="*/ 513 w 514"/>
                <a:gd name="T77" fmla="*/ 0 h 493"/>
                <a:gd name="T78" fmla="*/ 513 w 514"/>
                <a:gd name="T79" fmla="*/ 0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4" h="493">
                  <a:moveTo>
                    <a:pt x="10" y="493"/>
                  </a:moveTo>
                  <a:cubicBezTo>
                    <a:pt x="10" y="493"/>
                    <a:pt x="10" y="493"/>
                    <a:pt x="10" y="493"/>
                  </a:cubicBezTo>
                  <a:cubicBezTo>
                    <a:pt x="10" y="493"/>
                    <a:pt x="10" y="493"/>
                    <a:pt x="10" y="493"/>
                  </a:cubicBezTo>
                  <a:moveTo>
                    <a:pt x="10" y="493"/>
                  </a:moveTo>
                  <a:cubicBezTo>
                    <a:pt x="10" y="493"/>
                    <a:pt x="10" y="493"/>
                    <a:pt x="10" y="493"/>
                  </a:cubicBezTo>
                  <a:cubicBezTo>
                    <a:pt x="10" y="493"/>
                    <a:pt x="10" y="493"/>
                    <a:pt x="10" y="493"/>
                  </a:cubicBezTo>
                  <a:moveTo>
                    <a:pt x="9" y="492"/>
                  </a:moveTo>
                  <a:cubicBezTo>
                    <a:pt x="9" y="492"/>
                    <a:pt x="9" y="492"/>
                    <a:pt x="9" y="492"/>
                  </a:cubicBezTo>
                  <a:cubicBezTo>
                    <a:pt x="9" y="492"/>
                    <a:pt x="9" y="492"/>
                    <a:pt x="9" y="492"/>
                  </a:cubicBezTo>
                  <a:moveTo>
                    <a:pt x="9" y="492"/>
                  </a:moveTo>
                  <a:cubicBezTo>
                    <a:pt x="9" y="492"/>
                    <a:pt x="9" y="492"/>
                    <a:pt x="9" y="492"/>
                  </a:cubicBezTo>
                  <a:cubicBezTo>
                    <a:pt x="9" y="492"/>
                    <a:pt x="9" y="492"/>
                    <a:pt x="9" y="492"/>
                  </a:cubicBezTo>
                  <a:moveTo>
                    <a:pt x="9" y="492"/>
                  </a:moveTo>
                  <a:cubicBezTo>
                    <a:pt x="9" y="492"/>
                    <a:pt x="9" y="492"/>
                    <a:pt x="9" y="492"/>
                  </a:cubicBezTo>
                  <a:cubicBezTo>
                    <a:pt x="9" y="492"/>
                    <a:pt x="9" y="492"/>
                    <a:pt x="9" y="492"/>
                  </a:cubicBezTo>
                  <a:moveTo>
                    <a:pt x="0" y="450"/>
                  </a:moveTo>
                  <a:cubicBezTo>
                    <a:pt x="1" y="465"/>
                    <a:pt x="4" y="479"/>
                    <a:pt x="9" y="491"/>
                  </a:cubicBezTo>
                  <a:cubicBezTo>
                    <a:pt x="4" y="479"/>
                    <a:pt x="1" y="465"/>
                    <a:pt x="0" y="450"/>
                  </a:cubicBezTo>
                  <a:moveTo>
                    <a:pt x="0" y="450"/>
                  </a:moveTo>
                  <a:cubicBezTo>
                    <a:pt x="0" y="450"/>
                    <a:pt x="0" y="450"/>
                    <a:pt x="0" y="450"/>
                  </a:cubicBezTo>
                  <a:cubicBezTo>
                    <a:pt x="0" y="450"/>
                    <a:pt x="0" y="450"/>
                    <a:pt x="0" y="450"/>
                  </a:cubicBezTo>
                  <a:moveTo>
                    <a:pt x="0" y="449"/>
                  </a:moveTo>
                  <a:cubicBezTo>
                    <a:pt x="0" y="450"/>
                    <a:pt x="0" y="450"/>
                    <a:pt x="0" y="450"/>
                  </a:cubicBezTo>
                  <a:cubicBezTo>
                    <a:pt x="0" y="450"/>
                    <a:pt x="0" y="450"/>
                    <a:pt x="0" y="449"/>
                  </a:cubicBezTo>
                  <a:moveTo>
                    <a:pt x="0" y="449"/>
                  </a:moveTo>
                  <a:cubicBezTo>
                    <a:pt x="0" y="449"/>
                    <a:pt x="0" y="449"/>
                    <a:pt x="0" y="449"/>
                  </a:cubicBezTo>
                  <a:cubicBezTo>
                    <a:pt x="0" y="449"/>
                    <a:pt x="0" y="449"/>
                    <a:pt x="0" y="449"/>
                  </a:cubicBezTo>
                  <a:moveTo>
                    <a:pt x="0" y="448"/>
                  </a:moveTo>
                  <a:cubicBezTo>
                    <a:pt x="0" y="449"/>
                    <a:pt x="0" y="449"/>
                    <a:pt x="0" y="449"/>
                  </a:cubicBezTo>
                  <a:cubicBezTo>
                    <a:pt x="0" y="449"/>
                    <a:pt x="0" y="449"/>
                    <a:pt x="0" y="448"/>
                  </a:cubicBezTo>
                  <a:moveTo>
                    <a:pt x="0" y="448"/>
                  </a:moveTo>
                  <a:cubicBezTo>
                    <a:pt x="0" y="448"/>
                    <a:pt x="0" y="448"/>
                    <a:pt x="0" y="448"/>
                  </a:cubicBezTo>
                  <a:cubicBezTo>
                    <a:pt x="0" y="448"/>
                    <a:pt x="0" y="448"/>
                    <a:pt x="0" y="448"/>
                  </a:cubicBezTo>
                  <a:moveTo>
                    <a:pt x="0" y="448"/>
                  </a:moveTo>
                  <a:cubicBezTo>
                    <a:pt x="0" y="448"/>
                    <a:pt x="0" y="448"/>
                    <a:pt x="0" y="448"/>
                  </a:cubicBezTo>
                  <a:cubicBezTo>
                    <a:pt x="0" y="448"/>
                    <a:pt x="0" y="448"/>
                    <a:pt x="0" y="448"/>
                  </a:cubicBezTo>
                  <a:moveTo>
                    <a:pt x="0" y="447"/>
                  </a:moveTo>
                  <a:cubicBezTo>
                    <a:pt x="0" y="447"/>
                    <a:pt x="0" y="447"/>
                    <a:pt x="0" y="447"/>
                  </a:cubicBezTo>
                  <a:cubicBezTo>
                    <a:pt x="0" y="447"/>
                    <a:pt x="0" y="447"/>
                    <a:pt x="0" y="447"/>
                  </a:cubicBezTo>
                  <a:moveTo>
                    <a:pt x="0" y="447"/>
                  </a:moveTo>
                  <a:cubicBezTo>
                    <a:pt x="0" y="447"/>
                    <a:pt x="0" y="447"/>
                    <a:pt x="0" y="447"/>
                  </a:cubicBezTo>
                  <a:cubicBezTo>
                    <a:pt x="0" y="447"/>
                    <a:pt x="0" y="447"/>
                    <a:pt x="0" y="447"/>
                  </a:cubicBezTo>
                  <a:moveTo>
                    <a:pt x="0" y="446"/>
                  </a:moveTo>
                  <a:cubicBezTo>
                    <a:pt x="0" y="446"/>
                    <a:pt x="0" y="446"/>
                    <a:pt x="0" y="446"/>
                  </a:cubicBezTo>
                  <a:cubicBezTo>
                    <a:pt x="0" y="446"/>
                    <a:pt x="0" y="446"/>
                    <a:pt x="0" y="446"/>
                  </a:cubicBezTo>
                  <a:moveTo>
                    <a:pt x="0" y="446"/>
                  </a:moveTo>
                  <a:cubicBezTo>
                    <a:pt x="0" y="446"/>
                    <a:pt x="0" y="446"/>
                    <a:pt x="0" y="446"/>
                  </a:cubicBezTo>
                  <a:cubicBezTo>
                    <a:pt x="0" y="446"/>
                    <a:pt x="0" y="446"/>
                    <a:pt x="0" y="446"/>
                  </a:cubicBezTo>
                  <a:moveTo>
                    <a:pt x="0" y="446"/>
                  </a:moveTo>
                  <a:cubicBezTo>
                    <a:pt x="0" y="446"/>
                    <a:pt x="0" y="446"/>
                    <a:pt x="0" y="446"/>
                  </a:cubicBezTo>
                  <a:cubicBezTo>
                    <a:pt x="0" y="446"/>
                    <a:pt x="0" y="446"/>
                    <a:pt x="0" y="446"/>
                  </a:cubicBezTo>
                  <a:moveTo>
                    <a:pt x="0" y="445"/>
                  </a:moveTo>
                  <a:cubicBezTo>
                    <a:pt x="0" y="445"/>
                    <a:pt x="0" y="445"/>
                    <a:pt x="0" y="445"/>
                  </a:cubicBezTo>
                  <a:cubicBezTo>
                    <a:pt x="0" y="445"/>
                    <a:pt x="0" y="445"/>
                    <a:pt x="0" y="445"/>
                  </a:cubicBezTo>
                  <a:moveTo>
                    <a:pt x="0" y="445"/>
                  </a:moveTo>
                  <a:cubicBezTo>
                    <a:pt x="0" y="445"/>
                    <a:pt x="0" y="445"/>
                    <a:pt x="0" y="445"/>
                  </a:cubicBezTo>
                  <a:cubicBezTo>
                    <a:pt x="0" y="445"/>
                    <a:pt x="0" y="445"/>
                    <a:pt x="0" y="445"/>
                  </a:cubicBezTo>
                  <a:moveTo>
                    <a:pt x="0" y="444"/>
                  </a:moveTo>
                  <a:cubicBezTo>
                    <a:pt x="0" y="444"/>
                    <a:pt x="0" y="444"/>
                    <a:pt x="0" y="444"/>
                  </a:cubicBezTo>
                  <a:cubicBezTo>
                    <a:pt x="0" y="444"/>
                    <a:pt x="0" y="444"/>
                    <a:pt x="0" y="444"/>
                  </a:cubicBezTo>
                  <a:moveTo>
                    <a:pt x="0" y="444"/>
                  </a:moveTo>
                  <a:cubicBezTo>
                    <a:pt x="0" y="444"/>
                    <a:pt x="0" y="444"/>
                    <a:pt x="0" y="444"/>
                  </a:cubicBezTo>
                  <a:cubicBezTo>
                    <a:pt x="0" y="444"/>
                    <a:pt x="0" y="444"/>
                    <a:pt x="0" y="444"/>
                  </a:cubicBezTo>
                  <a:moveTo>
                    <a:pt x="0" y="443"/>
                  </a:moveTo>
                  <a:cubicBezTo>
                    <a:pt x="0" y="443"/>
                    <a:pt x="0" y="443"/>
                    <a:pt x="0" y="443"/>
                  </a:cubicBezTo>
                  <a:cubicBezTo>
                    <a:pt x="0" y="443"/>
                    <a:pt x="0" y="443"/>
                    <a:pt x="0" y="443"/>
                  </a:cubicBezTo>
                  <a:moveTo>
                    <a:pt x="0" y="443"/>
                  </a:moveTo>
                  <a:cubicBezTo>
                    <a:pt x="0" y="443"/>
                    <a:pt x="0" y="443"/>
                    <a:pt x="0" y="443"/>
                  </a:cubicBezTo>
                  <a:cubicBezTo>
                    <a:pt x="0" y="443"/>
                    <a:pt x="0" y="443"/>
                    <a:pt x="0" y="443"/>
                  </a:cubicBezTo>
                  <a:moveTo>
                    <a:pt x="514" y="0"/>
                  </a:moveTo>
                  <a:cubicBezTo>
                    <a:pt x="514" y="0"/>
                    <a:pt x="514" y="0"/>
                    <a:pt x="514" y="0"/>
                  </a:cubicBezTo>
                  <a:cubicBezTo>
                    <a:pt x="514" y="0"/>
                    <a:pt x="514" y="0"/>
                    <a:pt x="514" y="0"/>
                  </a:cubicBezTo>
                  <a:moveTo>
                    <a:pt x="514" y="0"/>
                  </a:moveTo>
                  <a:cubicBezTo>
                    <a:pt x="514" y="0"/>
                    <a:pt x="514" y="0"/>
                    <a:pt x="514" y="0"/>
                  </a:cubicBezTo>
                  <a:cubicBezTo>
                    <a:pt x="514" y="0"/>
                    <a:pt x="514" y="0"/>
                    <a:pt x="514" y="0"/>
                  </a:cubicBezTo>
                  <a:moveTo>
                    <a:pt x="513" y="0"/>
                  </a:moveTo>
                  <a:cubicBezTo>
                    <a:pt x="513" y="0"/>
                    <a:pt x="513" y="0"/>
                    <a:pt x="513" y="0"/>
                  </a:cubicBezTo>
                  <a:cubicBezTo>
                    <a:pt x="513" y="0"/>
                    <a:pt x="513" y="0"/>
                    <a:pt x="513" y="0"/>
                  </a:cubicBezTo>
                  <a:moveTo>
                    <a:pt x="513" y="0"/>
                  </a:moveTo>
                  <a:cubicBezTo>
                    <a:pt x="513" y="0"/>
                    <a:pt x="513" y="0"/>
                    <a:pt x="513" y="0"/>
                  </a:cubicBezTo>
                  <a:cubicBezTo>
                    <a:pt x="513" y="0"/>
                    <a:pt x="513" y="0"/>
                    <a:pt x="513" y="0"/>
                  </a:cubicBezTo>
                </a:path>
              </a:pathLst>
            </a:custGeom>
            <a:solidFill>
              <a:srgbClr val="EC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31"/>
            <p:cNvSpPr>
              <a:spLocks/>
            </p:cNvSpPr>
            <p:nvPr/>
          </p:nvSpPr>
          <p:spPr bwMode="auto">
            <a:xfrm>
              <a:off x="7073900" y="4943790"/>
              <a:ext cx="438150" cy="428625"/>
            </a:xfrm>
            <a:custGeom>
              <a:avLst/>
              <a:gdLst>
                <a:gd name="T0" fmla="*/ 199 w 544"/>
                <a:gd name="T1" fmla="*/ 0 h 530"/>
                <a:gd name="T2" fmla="*/ 199 w 544"/>
                <a:gd name="T3" fmla="*/ 314 h 530"/>
                <a:gd name="T4" fmla="*/ 101 w 544"/>
                <a:gd name="T5" fmla="*/ 347 h 530"/>
                <a:gd name="T6" fmla="*/ 0 w 544"/>
                <a:gd name="T7" fmla="*/ 443 h 530"/>
                <a:gd name="T8" fmla="*/ 0 w 544"/>
                <a:gd name="T9" fmla="*/ 443 h 530"/>
                <a:gd name="T10" fmla="*/ 0 w 544"/>
                <a:gd name="T11" fmla="*/ 443 h 530"/>
                <a:gd name="T12" fmla="*/ 0 w 544"/>
                <a:gd name="T13" fmla="*/ 444 h 530"/>
                <a:gd name="T14" fmla="*/ 0 w 544"/>
                <a:gd name="T15" fmla="*/ 444 h 530"/>
                <a:gd name="T16" fmla="*/ 0 w 544"/>
                <a:gd name="T17" fmla="*/ 445 h 530"/>
                <a:gd name="T18" fmla="*/ 0 w 544"/>
                <a:gd name="T19" fmla="*/ 445 h 530"/>
                <a:gd name="T20" fmla="*/ 0 w 544"/>
                <a:gd name="T21" fmla="*/ 446 h 530"/>
                <a:gd name="T22" fmla="*/ 0 w 544"/>
                <a:gd name="T23" fmla="*/ 446 h 530"/>
                <a:gd name="T24" fmla="*/ 0 w 544"/>
                <a:gd name="T25" fmla="*/ 446 h 530"/>
                <a:gd name="T26" fmla="*/ 0 w 544"/>
                <a:gd name="T27" fmla="*/ 447 h 530"/>
                <a:gd name="T28" fmla="*/ 0 w 544"/>
                <a:gd name="T29" fmla="*/ 447 h 530"/>
                <a:gd name="T30" fmla="*/ 0 w 544"/>
                <a:gd name="T31" fmla="*/ 448 h 530"/>
                <a:gd name="T32" fmla="*/ 0 w 544"/>
                <a:gd name="T33" fmla="*/ 448 h 530"/>
                <a:gd name="T34" fmla="*/ 0 w 544"/>
                <a:gd name="T35" fmla="*/ 449 h 530"/>
                <a:gd name="T36" fmla="*/ 0 w 544"/>
                <a:gd name="T37" fmla="*/ 449 h 530"/>
                <a:gd name="T38" fmla="*/ 0 w 544"/>
                <a:gd name="T39" fmla="*/ 450 h 530"/>
                <a:gd name="T40" fmla="*/ 0 w 544"/>
                <a:gd name="T41" fmla="*/ 450 h 530"/>
                <a:gd name="T42" fmla="*/ 9 w 544"/>
                <a:gd name="T43" fmla="*/ 491 h 530"/>
                <a:gd name="T44" fmla="*/ 9 w 544"/>
                <a:gd name="T45" fmla="*/ 492 h 530"/>
                <a:gd name="T46" fmla="*/ 9 w 544"/>
                <a:gd name="T47" fmla="*/ 492 h 530"/>
                <a:gd name="T48" fmla="*/ 9 w 544"/>
                <a:gd name="T49" fmla="*/ 492 h 530"/>
                <a:gd name="T50" fmla="*/ 10 w 544"/>
                <a:gd name="T51" fmla="*/ 493 h 530"/>
                <a:gd name="T52" fmla="*/ 10 w 544"/>
                <a:gd name="T53" fmla="*/ 493 h 530"/>
                <a:gd name="T54" fmla="*/ 9 w 544"/>
                <a:gd name="T55" fmla="*/ 452 h 530"/>
                <a:gd name="T56" fmla="*/ 110 w 544"/>
                <a:gd name="T57" fmla="*/ 356 h 530"/>
                <a:gd name="T58" fmla="*/ 208 w 544"/>
                <a:gd name="T59" fmla="*/ 323 h 530"/>
                <a:gd name="T60" fmla="*/ 522 w 544"/>
                <a:gd name="T61" fmla="*/ 9 h 530"/>
                <a:gd name="T62" fmla="*/ 514 w 544"/>
                <a:gd name="T63" fmla="*/ 0 h 530"/>
                <a:gd name="T64" fmla="*/ 514 w 544"/>
                <a:gd name="T65" fmla="*/ 0 h 530"/>
                <a:gd name="T66" fmla="*/ 513 w 544"/>
                <a:gd name="T67" fmla="*/ 0 h 530"/>
                <a:gd name="T68" fmla="*/ 513 w 544"/>
                <a:gd name="T69" fmla="*/ 0 h 530"/>
                <a:gd name="T70" fmla="*/ 513 w 544"/>
                <a:gd name="T71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44" h="530">
                  <a:moveTo>
                    <a:pt x="513" y="0"/>
                  </a:moveTo>
                  <a:cubicBezTo>
                    <a:pt x="199" y="0"/>
                    <a:pt x="199" y="0"/>
                    <a:pt x="199" y="0"/>
                  </a:cubicBezTo>
                  <a:cubicBezTo>
                    <a:pt x="199" y="314"/>
                    <a:pt x="199" y="314"/>
                    <a:pt x="199" y="314"/>
                  </a:cubicBezTo>
                  <a:cubicBezTo>
                    <a:pt x="199" y="314"/>
                    <a:pt x="199" y="314"/>
                    <a:pt x="199" y="314"/>
                  </a:cubicBezTo>
                  <a:cubicBezTo>
                    <a:pt x="199" y="339"/>
                    <a:pt x="174" y="357"/>
                    <a:pt x="143" y="357"/>
                  </a:cubicBezTo>
                  <a:cubicBezTo>
                    <a:pt x="130" y="357"/>
                    <a:pt x="116" y="354"/>
                    <a:pt x="101" y="347"/>
                  </a:cubicBezTo>
                  <a:cubicBezTo>
                    <a:pt x="93" y="342"/>
                    <a:pt x="84" y="340"/>
                    <a:pt x="75" y="340"/>
                  </a:cubicBezTo>
                  <a:cubicBezTo>
                    <a:pt x="33" y="340"/>
                    <a:pt x="0" y="386"/>
                    <a:pt x="0" y="443"/>
                  </a:cubicBezTo>
                  <a:cubicBezTo>
                    <a:pt x="0" y="443"/>
                    <a:pt x="0" y="443"/>
                    <a:pt x="0" y="443"/>
                  </a:cubicBezTo>
                  <a:cubicBezTo>
                    <a:pt x="0" y="443"/>
                    <a:pt x="0" y="443"/>
                    <a:pt x="0" y="443"/>
                  </a:cubicBezTo>
                  <a:cubicBezTo>
                    <a:pt x="0" y="443"/>
                    <a:pt x="0" y="443"/>
                    <a:pt x="0" y="443"/>
                  </a:cubicBezTo>
                  <a:cubicBezTo>
                    <a:pt x="0" y="443"/>
                    <a:pt x="0" y="443"/>
                    <a:pt x="0" y="443"/>
                  </a:cubicBezTo>
                  <a:cubicBezTo>
                    <a:pt x="0" y="444"/>
                    <a:pt x="0" y="444"/>
                    <a:pt x="0" y="444"/>
                  </a:cubicBezTo>
                  <a:cubicBezTo>
                    <a:pt x="0" y="444"/>
                    <a:pt x="0" y="444"/>
                    <a:pt x="0" y="444"/>
                  </a:cubicBezTo>
                  <a:cubicBezTo>
                    <a:pt x="0" y="444"/>
                    <a:pt x="0" y="444"/>
                    <a:pt x="0" y="444"/>
                  </a:cubicBezTo>
                  <a:cubicBezTo>
                    <a:pt x="0" y="444"/>
                    <a:pt x="0" y="444"/>
                    <a:pt x="0" y="444"/>
                  </a:cubicBezTo>
                  <a:cubicBezTo>
                    <a:pt x="0" y="444"/>
                    <a:pt x="0" y="445"/>
                    <a:pt x="0" y="445"/>
                  </a:cubicBezTo>
                  <a:cubicBezTo>
                    <a:pt x="0" y="445"/>
                    <a:pt x="0" y="445"/>
                    <a:pt x="0" y="445"/>
                  </a:cubicBezTo>
                  <a:cubicBezTo>
                    <a:pt x="0" y="445"/>
                    <a:pt x="0" y="445"/>
                    <a:pt x="0" y="445"/>
                  </a:cubicBezTo>
                  <a:cubicBezTo>
                    <a:pt x="0" y="445"/>
                    <a:pt x="0" y="445"/>
                    <a:pt x="0" y="445"/>
                  </a:cubicBezTo>
                  <a:cubicBezTo>
                    <a:pt x="0" y="445"/>
                    <a:pt x="0" y="445"/>
                    <a:pt x="0" y="446"/>
                  </a:cubicBezTo>
                  <a:cubicBezTo>
                    <a:pt x="0" y="446"/>
                    <a:pt x="0" y="446"/>
                    <a:pt x="0" y="446"/>
                  </a:cubicBezTo>
                  <a:cubicBezTo>
                    <a:pt x="0" y="446"/>
                    <a:pt x="0" y="446"/>
                    <a:pt x="0" y="446"/>
                  </a:cubicBezTo>
                  <a:cubicBezTo>
                    <a:pt x="0" y="446"/>
                    <a:pt x="0" y="446"/>
                    <a:pt x="0" y="446"/>
                  </a:cubicBezTo>
                  <a:cubicBezTo>
                    <a:pt x="0" y="446"/>
                    <a:pt x="0" y="446"/>
                    <a:pt x="0" y="446"/>
                  </a:cubicBezTo>
                  <a:cubicBezTo>
                    <a:pt x="0" y="446"/>
                    <a:pt x="0" y="446"/>
                    <a:pt x="0" y="446"/>
                  </a:cubicBezTo>
                  <a:cubicBezTo>
                    <a:pt x="0" y="447"/>
                    <a:pt x="0" y="447"/>
                    <a:pt x="0" y="447"/>
                  </a:cubicBezTo>
                  <a:cubicBezTo>
                    <a:pt x="0" y="447"/>
                    <a:pt x="0" y="447"/>
                    <a:pt x="0" y="447"/>
                  </a:cubicBezTo>
                  <a:cubicBezTo>
                    <a:pt x="0" y="447"/>
                    <a:pt x="0" y="447"/>
                    <a:pt x="0" y="447"/>
                  </a:cubicBezTo>
                  <a:cubicBezTo>
                    <a:pt x="0" y="447"/>
                    <a:pt x="0" y="447"/>
                    <a:pt x="0" y="447"/>
                  </a:cubicBezTo>
                  <a:cubicBezTo>
                    <a:pt x="0" y="447"/>
                    <a:pt x="0" y="448"/>
                    <a:pt x="0" y="448"/>
                  </a:cubicBezTo>
                  <a:cubicBezTo>
                    <a:pt x="0" y="448"/>
                    <a:pt x="0" y="448"/>
                    <a:pt x="0" y="448"/>
                  </a:cubicBezTo>
                  <a:cubicBezTo>
                    <a:pt x="0" y="448"/>
                    <a:pt x="0" y="448"/>
                    <a:pt x="0" y="448"/>
                  </a:cubicBezTo>
                  <a:cubicBezTo>
                    <a:pt x="0" y="448"/>
                    <a:pt x="0" y="448"/>
                    <a:pt x="0" y="448"/>
                  </a:cubicBezTo>
                  <a:cubicBezTo>
                    <a:pt x="0" y="448"/>
                    <a:pt x="0" y="448"/>
                    <a:pt x="0" y="448"/>
                  </a:cubicBezTo>
                  <a:cubicBezTo>
                    <a:pt x="0" y="449"/>
                    <a:pt x="0" y="449"/>
                    <a:pt x="0" y="449"/>
                  </a:cubicBezTo>
                  <a:cubicBezTo>
                    <a:pt x="0" y="449"/>
                    <a:pt x="0" y="449"/>
                    <a:pt x="0" y="449"/>
                  </a:cubicBezTo>
                  <a:cubicBezTo>
                    <a:pt x="0" y="449"/>
                    <a:pt x="0" y="449"/>
                    <a:pt x="0" y="449"/>
                  </a:cubicBezTo>
                  <a:cubicBezTo>
                    <a:pt x="0" y="449"/>
                    <a:pt x="0" y="449"/>
                    <a:pt x="0" y="449"/>
                  </a:cubicBezTo>
                  <a:cubicBezTo>
                    <a:pt x="0" y="450"/>
                    <a:pt x="0" y="450"/>
                    <a:pt x="0" y="450"/>
                  </a:cubicBezTo>
                  <a:cubicBezTo>
                    <a:pt x="0" y="450"/>
                    <a:pt x="0" y="450"/>
                    <a:pt x="0" y="450"/>
                  </a:cubicBezTo>
                  <a:cubicBezTo>
                    <a:pt x="0" y="450"/>
                    <a:pt x="0" y="450"/>
                    <a:pt x="0" y="450"/>
                  </a:cubicBezTo>
                  <a:cubicBezTo>
                    <a:pt x="0" y="450"/>
                    <a:pt x="0" y="450"/>
                    <a:pt x="0" y="450"/>
                  </a:cubicBezTo>
                  <a:cubicBezTo>
                    <a:pt x="1" y="465"/>
                    <a:pt x="4" y="479"/>
                    <a:pt x="9" y="491"/>
                  </a:cubicBezTo>
                  <a:cubicBezTo>
                    <a:pt x="9" y="491"/>
                    <a:pt x="9" y="492"/>
                    <a:pt x="9" y="492"/>
                  </a:cubicBezTo>
                  <a:cubicBezTo>
                    <a:pt x="9" y="492"/>
                    <a:pt x="9" y="492"/>
                    <a:pt x="9" y="492"/>
                  </a:cubicBezTo>
                  <a:cubicBezTo>
                    <a:pt x="9" y="492"/>
                    <a:pt x="9" y="492"/>
                    <a:pt x="9" y="492"/>
                  </a:cubicBezTo>
                  <a:cubicBezTo>
                    <a:pt x="9" y="492"/>
                    <a:pt x="9" y="492"/>
                    <a:pt x="9" y="492"/>
                  </a:cubicBezTo>
                  <a:cubicBezTo>
                    <a:pt x="9" y="492"/>
                    <a:pt x="9" y="492"/>
                    <a:pt x="9" y="492"/>
                  </a:cubicBezTo>
                  <a:cubicBezTo>
                    <a:pt x="9" y="492"/>
                    <a:pt x="9" y="492"/>
                    <a:pt x="9" y="492"/>
                  </a:cubicBezTo>
                  <a:cubicBezTo>
                    <a:pt x="10" y="492"/>
                    <a:pt x="10" y="493"/>
                    <a:pt x="10" y="493"/>
                  </a:cubicBezTo>
                  <a:cubicBezTo>
                    <a:pt x="10" y="493"/>
                    <a:pt x="10" y="493"/>
                    <a:pt x="10" y="493"/>
                  </a:cubicBezTo>
                  <a:cubicBezTo>
                    <a:pt x="10" y="493"/>
                    <a:pt x="10" y="493"/>
                    <a:pt x="10" y="493"/>
                  </a:cubicBezTo>
                  <a:cubicBezTo>
                    <a:pt x="10" y="493"/>
                    <a:pt x="10" y="493"/>
                    <a:pt x="10" y="493"/>
                  </a:cubicBezTo>
                  <a:cubicBezTo>
                    <a:pt x="16" y="508"/>
                    <a:pt x="25" y="521"/>
                    <a:pt x="36" y="530"/>
                  </a:cubicBezTo>
                  <a:cubicBezTo>
                    <a:pt x="19" y="511"/>
                    <a:pt x="9" y="483"/>
                    <a:pt x="9" y="452"/>
                  </a:cubicBezTo>
                  <a:cubicBezTo>
                    <a:pt x="9" y="395"/>
                    <a:pt x="43" y="349"/>
                    <a:pt x="84" y="349"/>
                  </a:cubicBezTo>
                  <a:cubicBezTo>
                    <a:pt x="93" y="349"/>
                    <a:pt x="102" y="351"/>
                    <a:pt x="110" y="356"/>
                  </a:cubicBezTo>
                  <a:cubicBezTo>
                    <a:pt x="125" y="363"/>
                    <a:pt x="139" y="366"/>
                    <a:pt x="152" y="366"/>
                  </a:cubicBezTo>
                  <a:cubicBezTo>
                    <a:pt x="183" y="366"/>
                    <a:pt x="208" y="348"/>
                    <a:pt x="208" y="323"/>
                  </a:cubicBezTo>
                  <a:cubicBezTo>
                    <a:pt x="208" y="9"/>
                    <a:pt x="208" y="9"/>
                    <a:pt x="208" y="9"/>
                  </a:cubicBezTo>
                  <a:cubicBezTo>
                    <a:pt x="522" y="9"/>
                    <a:pt x="522" y="9"/>
                    <a:pt x="522" y="9"/>
                  </a:cubicBezTo>
                  <a:cubicBezTo>
                    <a:pt x="530" y="9"/>
                    <a:pt x="538" y="12"/>
                    <a:pt x="544" y="17"/>
                  </a:cubicBezTo>
                  <a:cubicBezTo>
                    <a:pt x="537" y="7"/>
                    <a:pt x="526" y="0"/>
                    <a:pt x="514" y="0"/>
                  </a:cubicBezTo>
                  <a:cubicBezTo>
                    <a:pt x="514" y="0"/>
                    <a:pt x="514" y="0"/>
                    <a:pt x="514" y="0"/>
                  </a:cubicBezTo>
                  <a:cubicBezTo>
                    <a:pt x="514" y="0"/>
                    <a:pt x="514" y="0"/>
                    <a:pt x="514" y="0"/>
                  </a:cubicBezTo>
                  <a:cubicBezTo>
                    <a:pt x="514" y="0"/>
                    <a:pt x="514" y="0"/>
                    <a:pt x="514" y="0"/>
                  </a:cubicBezTo>
                  <a:cubicBezTo>
                    <a:pt x="513" y="0"/>
                    <a:pt x="513" y="0"/>
                    <a:pt x="513" y="0"/>
                  </a:cubicBezTo>
                  <a:cubicBezTo>
                    <a:pt x="513" y="0"/>
                    <a:pt x="513" y="0"/>
                    <a:pt x="513" y="0"/>
                  </a:cubicBezTo>
                  <a:cubicBezTo>
                    <a:pt x="513" y="0"/>
                    <a:pt x="513" y="0"/>
                    <a:pt x="513" y="0"/>
                  </a:cubicBezTo>
                  <a:cubicBezTo>
                    <a:pt x="513" y="0"/>
                    <a:pt x="513" y="0"/>
                    <a:pt x="513" y="0"/>
                  </a:cubicBezTo>
                  <a:cubicBezTo>
                    <a:pt x="513" y="0"/>
                    <a:pt x="513" y="0"/>
                    <a:pt x="513" y="0"/>
                  </a:cubicBezTo>
                  <a:cubicBezTo>
                    <a:pt x="513" y="0"/>
                    <a:pt x="513" y="0"/>
                    <a:pt x="513" y="0"/>
                  </a:cubicBez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36"/>
            <p:cNvSpPr>
              <a:spLocks/>
            </p:cNvSpPr>
            <p:nvPr/>
          </p:nvSpPr>
          <p:spPr bwMode="auto">
            <a:xfrm>
              <a:off x="7094538" y="5354952"/>
              <a:ext cx="127000" cy="28575"/>
            </a:xfrm>
            <a:custGeom>
              <a:avLst/>
              <a:gdLst>
                <a:gd name="T0" fmla="*/ 66 w 156"/>
                <a:gd name="T1" fmla="*/ 19 h 35"/>
                <a:gd name="T2" fmla="*/ 39 w 156"/>
                <a:gd name="T3" fmla="*/ 26 h 35"/>
                <a:gd name="T4" fmla="*/ 0 w 156"/>
                <a:gd name="T5" fmla="*/ 11 h 35"/>
                <a:gd name="T6" fmla="*/ 49 w 156"/>
                <a:gd name="T7" fmla="*/ 35 h 35"/>
                <a:gd name="T8" fmla="*/ 75 w 156"/>
                <a:gd name="T9" fmla="*/ 28 h 35"/>
                <a:gd name="T10" fmla="*/ 156 w 156"/>
                <a:gd name="T11" fmla="*/ 30 h 35"/>
                <a:gd name="T12" fmla="*/ 66 w 156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35">
                  <a:moveTo>
                    <a:pt x="66" y="19"/>
                  </a:moveTo>
                  <a:cubicBezTo>
                    <a:pt x="58" y="24"/>
                    <a:pt x="49" y="26"/>
                    <a:pt x="39" y="26"/>
                  </a:cubicBezTo>
                  <a:cubicBezTo>
                    <a:pt x="25" y="26"/>
                    <a:pt x="12" y="20"/>
                    <a:pt x="0" y="11"/>
                  </a:cubicBezTo>
                  <a:cubicBezTo>
                    <a:pt x="13" y="26"/>
                    <a:pt x="30" y="35"/>
                    <a:pt x="49" y="35"/>
                  </a:cubicBezTo>
                  <a:cubicBezTo>
                    <a:pt x="58" y="35"/>
                    <a:pt x="67" y="33"/>
                    <a:pt x="75" y="28"/>
                  </a:cubicBezTo>
                  <a:cubicBezTo>
                    <a:pt x="106" y="12"/>
                    <a:pt x="138" y="16"/>
                    <a:pt x="156" y="30"/>
                  </a:cubicBezTo>
                  <a:cubicBezTo>
                    <a:pt x="141" y="9"/>
                    <a:pt x="103" y="0"/>
                    <a:pt x="66" y="19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25"/>
            <p:cNvSpPr>
              <a:spLocks/>
            </p:cNvSpPr>
            <p:nvPr/>
          </p:nvSpPr>
          <p:spPr bwMode="auto">
            <a:xfrm>
              <a:off x="7527925" y="4943790"/>
              <a:ext cx="420688" cy="168275"/>
            </a:xfrm>
            <a:custGeom>
              <a:avLst/>
              <a:gdLst>
                <a:gd name="T0" fmla="*/ 521 w 521"/>
                <a:gd name="T1" fmla="*/ 0 h 208"/>
                <a:gd name="T2" fmla="*/ 207 w 521"/>
                <a:gd name="T3" fmla="*/ 0 h 208"/>
                <a:gd name="T4" fmla="*/ 164 w 521"/>
                <a:gd name="T5" fmla="*/ 56 h 208"/>
                <a:gd name="T6" fmla="*/ 174 w 521"/>
                <a:gd name="T7" fmla="*/ 98 h 208"/>
                <a:gd name="T8" fmla="*/ 181 w 521"/>
                <a:gd name="T9" fmla="*/ 124 h 208"/>
                <a:gd name="T10" fmla="*/ 181 w 521"/>
                <a:gd name="T11" fmla="*/ 124 h 208"/>
                <a:gd name="T12" fmla="*/ 181 w 521"/>
                <a:gd name="T13" fmla="*/ 124 h 208"/>
                <a:gd name="T14" fmla="*/ 78 w 521"/>
                <a:gd name="T15" fmla="*/ 199 h 208"/>
                <a:gd name="T16" fmla="*/ 78 w 521"/>
                <a:gd name="T17" fmla="*/ 199 h 208"/>
                <a:gd name="T18" fmla="*/ 78 w 521"/>
                <a:gd name="T19" fmla="*/ 199 h 208"/>
                <a:gd name="T20" fmla="*/ 78 w 521"/>
                <a:gd name="T21" fmla="*/ 199 h 208"/>
                <a:gd name="T22" fmla="*/ 78 w 521"/>
                <a:gd name="T23" fmla="*/ 199 h 208"/>
                <a:gd name="T24" fmla="*/ 77 w 521"/>
                <a:gd name="T25" fmla="*/ 199 h 208"/>
                <a:gd name="T26" fmla="*/ 77 w 521"/>
                <a:gd name="T27" fmla="*/ 199 h 208"/>
                <a:gd name="T28" fmla="*/ 77 w 521"/>
                <a:gd name="T29" fmla="*/ 199 h 208"/>
                <a:gd name="T30" fmla="*/ 77 w 521"/>
                <a:gd name="T31" fmla="*/ 199 h 208"/>
                <a:gd name="T32" fmla="*/ 77 w 521"/>
                <a:gd name="T33" fmla="*/ 199 h 208"/>
                <a:gd name="T34" fmla="*/ 77 w 521"/>
                <a:gd name="T35" fmla="*/ 199 h 208"/>
                <a:gd name="T36" fmla="*/ 76 w 521"/>
                <a:gd name="T37" fmla="*/ 199 h 208"/>
                <a:gd name="T38" fmla="*/ 76 w 521"/>
                <a:gd name="T39" fmla="*/ 199 h 208"/>
                <a:gd name="T40" fmla="*/ 76 w 521"/>
                <a:gd name="T41" fmla="*/ 199 h 208"/>
                <a:gd name="T42" fmla="*/ 76 w 521"/>
                <a:gd name="T43" fmla="*/ 199 h 208"/>
                <a:gd name="T44" fmla="*/ 75 w 521"/>
                <a:gd name="T45" fmla="*/ 199 h 208"/>
                <a:gd name="T46" fmla="*/ 75 w 521"/>
                <a:gd name="T47" fmla="*/ 199 h 208"/>
                <a:gd name="T48" fmla="*/ 0 w 521"/>
                <a:gd name="T49" fmla="*/ 172 h 208"/>
                <a:gd name="T50" fmla="*/ 87 w 521"/>
                <a:gd name="T51" fmla="*/ 208 h 208"/>
                <a:gd name="T52" fmla="*/ 190 w 521"/>
                <a:gd name="T53" fmla="*/ 133 h 208"/>
                <a:gd name="T54" fmla="*/ 183 w 521"/>
                <a:gd name="T55" fmla="*/ 107 h 208"/>
                <a:gd name="T56" fmla="*/ 216 w 521"/>
                <a:gd name="T57" fmla="*/ 9 h 208"/>
                <a:gd name="T58" fmla="*/ 521 w 521"/>
                <a:gd name="T59" fmla="*/ 9 h 208"/>
                <a:gd name="T60" fmla="*/ 521 w 521"/>
                <a:gd name="T61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21" h="208">
                  <a:moveTo>
                    <a:pt x="521" y="0"/>
                  </a:moveTo>
                  <a:cubicBezTo>
                    <a:pt x="207" y="0"/>
                    <a:pt x="207" y="0"/>
                    <a:pt x="207" y="0"/>
                  </a:cubicBezTo>
                  <a:cubicBezTo>
                    <a:pt x="182" y="0"/>
                    <a:pt x="164" y="25"/>
                    <a:pt x="164" y="56"/>
                  </a:cubicBezTo>
                  <a:cubicBezTo>
                    <a:pt x="164" y="69"/>
                    <a:pt x="167" y="83"/>
                    <a:pt x="174" y="98"/>
                  </a:cubicBezTo>
                  <a:cubicBezTo>
                    <a:pt x="179" y="106"/>
                    <a:pt x="181" y="115"/>
                    <a:pt x="181" y="124"/>
                  </a:cubicBezTo>
                  <a:cubicBezTo>
                    <a:pt x="181" y="124"/>
                    <a:pt x="181" y="124"/>
                    <a:pt x="181" y="124"/>
                  </a:cubicBezTo>
                  <a:cubicBezTo>
                    <a:pt x="181" y="124"/>
                    <a:pt x="181" y="124"/>
                    <a:pt x="181" y="124"/>
                  </a:cubicBezTo>
                  <a:cubicBezTo>
                    <a:pt x="181" y="165"/>
                    <a:pt x="135" y="199"/>
                    <a:pt x="78" y="199"/>
                  </a:cubicBezTo>
                  <a:cubicBezTo>
                    <a:pt x="78" y="199"/>
                    <a:pt x="78" y="199"/>
                    <a:pt x="78" y="199"/>
                  </a:cubicBezTo>
                  <a:cubicBezTo>
                    <a:pt x="78" y="199"/>
                    <a:pt x="78" y="199"/>
                    <a:pt x="78" y="199"/>
                  </a:cubicBezTo>
                  <a:cubicBezTo>
                    <a:pt x="78" y="199"/>
                    <a:pt x="78" y="199"/>
                    <a:pt x="78" y="199"/>
                  </a:cubicBezTo>
                  <a:cubicBezTo>
                    <a:pt x="78" y="199"/>
                    <a:pt x="78" y="199"/>
                    <a:pt x="78" y="199"/>
                  </a:cubicBezTo>
                  <a:cubicBezTo>
                    <a:pt x="78" y="199"/>
                    <a:pt x="77" y="199"/>
                    <a:pt x="77" y="199"/>
                  </a:cubicBezTo>
                  <a:cubicBezTo>
                    <a:pt x="77" y="199"/>
                    <a:pt x="77" y="199"/>
                    <a:pt x="77" y="199"/>
                  </a:cubicBezTo>
                  <a:cubicBezTo>
                    <a:pt x="77" y="199"/>
                    <a:pt x="77" y="199"/>
                    <a:pt x="77" y="199"/>
                  </a:cubicBezTo>
                  <a:cubicBezTo>
                    <a:pt x="77" y="199"/>
                    <a:pt x="77" y="199"/>
                    <a:pt x="77" y="199"/>
                  </a:cubicBezTo>
                  <a:cubicBezTo>
                    <a:pt x="77" y="199"/>
                    <a:pt x="77" y="199"/>
                    <a:pt x="77" y="199"/>
                  </a:cubicBezTo>
                  <a:cubicBezTo>
                    <a:pt x="77" y="199"/>
                    <a:pt x="77" y="199"/>
                    <a:pt x="77" y="199"/>
                  </a:cubicBezTo>
                  <a:cubicBezTo>
                    <a:pt x="76" y="199"/>
                    <a:pt x="76" y="199"/>
                    <a:pt x="76" y="199"/>
                  </a:cubicBezTo>
                  <a:cubicBezTo>
                    <a:pt x="76" y="199"/>
                    <a:pt x="76" y="199"/>
                    <a:pt x="76" y="199"/>
                  </a:cubicBezTo>
                  <a:cubicBezTo>
                    <a:pt x="76" y="199"/>
                    <a:pt x="76" y="199"/>
                    <a:pt x="76" y="199"/>
                  </a:cubicBezTo>
                  <a:cubicBezTo>
                    <a:pt x="76" y="199"/>
                    <a:pt x="76" y="199"/>
                    <a:pt x="76" y="199"/>
                  </a:cubicBezTo>
                  <a:cubicBezTo>
                    <a:pt x="76" y="199"/>
                    <a:pt x="76" y="199"/>
                    <a:pt x="75" y="199"/>
                  </a:cubicBezTo>
                  <a:cubicBezTo>
                    <a:pt x="75" y="199"/>
                    <a:pt x="75" y="199"/>
                    <a:pt x="75" y="199"/>
                  </a:cubicBezTo>
                  <a:cubicBezTo>
                    <a:pt x="45" y="198"/>
                    <a:pt x="18" y="188"/>
                    <a:pt x="0" y="172"/>
                  </a:cubicBezTo>
                  <a:cubicBezTo>
                    <a:pt x="18" y="194"/>
                    <a:pt x="50" y="208"/>
                    <a:pt x="87" y="208"/>
                  </a:cubicBezTo>
                  <a:cubicBezTo>
                    <a:pt x="144" y="208"/>
                    <a:pt x="190" y="174"/>
                    <a:pt x="190" y="133"/>
                  </a:cubicBezTo>
                  <a:cubicBezTo>
                    <a:pt x="190" y="124"/>
                    <a:pt x="188" y="115"/>
                    <a:pt x="183" y="107"/>
                  </a:cubicBezTo>
                  <a:cubicBezTo>
                    <a:pt x="158" y="58"/>
                    <a:pt x="181" y="9"/>
                    <a:pt x="216" y="9"/>
                  </a:cubicBezTo>
                  <a:cubicBezTo>
                    <a:pt x="521" y="9"/>
                    <a:pt x="521" y="9"/>
                    <a:pt x="521" y="9"/>
                  </a:cubicBezTo>
                  <a:cubicBezTo>
                    <a:pt x="521" y="0"/>
                    <a:pt x="521" y="0"/>
                    <a:pt x="521" y="0"/>
                  </a:cubicBez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27"/>
            <p:cNvSpPr>
              <a:spLocks/>
            </p:cNvSpPr>
            <p:nvPr/>
          </p:nvSpPr>
          <p:spPr bwMode="auto">
            <a:xfrm>
              <a:off x="7227888" y="5386702"/>
              <a:ext cx="14288" cy="271462"/>
            </a:xfrm>
            <a:custGeom>
              <a:avLst/>
              <a:gdLst>
                <a:gd name="T0" fmla="*/ 0 w 17"/>
                <a:gd name="T1" fmla="*/ 0 h 336"/>
                <a:gd name="T2" fmla="*/ 8 w 17"/>
                <a:gd name="T3" fmla="*/ 21 h 336"/>
                <a:gd name="T4" fmla="*/ 8 w 17"/>
                <a:gd name="T5" fmla="*/ 21 h 336"/>
                <a:gd name="T6" fmla="*/ 8 w 17"/>
                <a:gd name="T7" fmla="*/ 21 h 336"/>
                <a:gd name="T8" fmla="*/ 8 w 17"/>
                <a:gd name="T9" fmla="*/ 21 h 336"/>
                <a:gd name="T10" fmla="*/ 8 w 17"/>
                <a:gd name="T11" fmla="*/ 21 h 336"/>
                <a:gd name="T12" fmla="*/ 8 w 17"/>
                <a:gd name="T13" fmla="*/ 22 h 336"/>
                <a:gd name="T14" fmla="*/ 8 w 17"/>
                <a:gd name="T15" fmla="*/ 22 h 336"/>
                <a:gd name="T16" fmla="*/ 8 w 17"/>
                <a:gd name="T17" fmla="*/ 22 h 336"/>
                <a:gd name="T18" fmla="*/ 8 w 17"/>
                <a:gd name="T19" fmla="*/ 22 h 336"/>
                <a:gd name="T20" fmla="*/ 8 w 17"/>
                <a:gd name="T21" fmla="*/ 22 h 336"/>
                <a:gd name="T22" fmla="*/ 8 w 17"/>
                <a:gd name="T23" fmla="*/ 336 h 336"/>
                <a:gd name="T24" fmla="*/ 17 w 17"/>
                <a:gd name="T25" fmla="*/ 336 h 336"/>
                <a:gd name="T26" fmla="*/ 17 w 17"/>
                <a:gd name="T27" fmla="*/ 31 h 336"/>
                <a:gd name="T28" fmla="*/ 0 w 17"/>
                <a:gd name="T29" fmla="*/ 0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" h="336">
                  <a:moveTo>
                    <a:pt x="0" y="0"/>
                  </a:moveTo>
                  <a:cubicBezTo>
                    <a:pt x="5" y="6"/>
                    <a:pt x="8" y="13"/>
                    <a:pt x="8" y="21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21"/>
                    <a:pt x="8" y="22"/>
                    <a:pt x="8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336"/>
                    <a:pt x="8" y="336"/>
                    <a:pt x="8" y="336"/>
                  </a:cubicBezTo>
                  <a:cubicBezTo>
                    <a:pt x="17" y="336"/>
                    <a:pt x="17" y="336"/>
                    <a:pt x="17" y="336"/>
                  </a:cubicBezTo>
                  <a:cubicBezTo>
                    <a:pt x="17" y="31"/>
                    <a:pt x="17" y="31"/>
                    <a:pt x="17" y="31"/>
                  </a:cubicBezTo>
                  <a:cubicBezTo>
                    <a:pt x="17" y="19"/>
                    <a:pt x="11" y="8"/>
                    <a:pt x="0" y="0"/>
                  </a:cubicBez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29"/>
            <p:cNvSpPr>
              <a:spLocks/>
            </p:cNvSpPr>
            <p:nvPr/>
          </p:nvSpPr>
          <p:spPr bwMode="auto">
            <a:xfrm>
              <a:off x="7961313" y="5218427"/>
              <a:ext cx="125413" cy="20637"/>
            </a:xfrm>
            <a:custGeom>
              <a:avLst/>
              <a:gdLst>
                <a:gd name="T0" fmla="*/ 107 w 155"/>
                <a:gd name="T1" fmla="*/ 0 h 26"/>
                <a:gd name="T2" fmla="*/ 80 w 155"/>
                <a:gd name="T3" fmla="*/ 7 h 26"/>
                <a:gd name="T4" fmla="*/ 39 w 155"/>
                <a:gd name="T5" fmla="*/ 17 h 26"/>
                <a:gd name="T6" fmla="*/ 0 w 155"/>
                <a:gd name="T7" fmla="*/ 5 h 26"/>
                <a:gd name="T8" fmla="*/ 48 w 155"/>
                <a:gd name="T9" fmla="*/ 26 h 26"/>
                <a:gd name="T10" fmla="*/ 90 w 155"/>
                <a:gd name="T11" fmla="*/ 16 h 26"/>
                <a:gd name="T12" fmla="*/ 116 w 155"/>
                <a:gd name="T13" fmla="*/ 9 h 26"/>
                <a:gd name="T14" fmla="*/ 155 w 155"/>
                <a:gd name="T15" fmla="*/ 24 h 26"/>
                <a:gd name="T16" fmla="*/ 109 w 155"/>
                <a:gd name="T17" fmla="*/ 0 h 26"/>
                <a:gd name="T18" fmla="*/ 109 w 155"/>
                <a:gd name="T19" fmla="*/ 0 h 26"/>
                <a:gd name="T20" fmla="*/ 109 w 155"/>
                <a:gd name="T21" fmla="*/ 0 h 26"/>
                <a:gd name="T22" fmla="*/ 108 w 155"/>
                <a:gd name="T23" fmla="*/ 0 h 26"/>
                <a:gd name="T24" fmla="*/ 108 w 155"/>
                <a:gd name="T25" fmla="*/ 0 h 26"/>
                <a:gd name="T26" fmla="*/ 108 w 155"/>
                <a:gd name="T27" fmla="*/ 0 h 26"/>
                <a:gd name="T28" fmla="*/ 108 w 155"/>
                <a:gd name="T29" fmla="*/ 0 h 26"/>
                <a:gd name="T30" fmla="*/ 108 w 155"/>
                <a:gd name="T31" fmla="*/ 0 h 26"/>
                <a:gd name="T32" fmla="*/ 108 w 155"/>
                <a:gd name="T33" fmla="*/ 0 h 26"/>
                <a:gd name="T34" fmla="*/ 108 w 155"/>
                <a:gd name="T35" fmla="*/ 0 h 26"/>
                <a:gd name="T36" fmla="*/ 108 w 155"/>
                <a:gd name="T37" fmla="*/ 0 h 26"/>
                <a:gd name="T38" fmla="*/ 107 w 155"/>
                <a:gd name="T39" fmla="*/ 0 h 26"/>
                <a:gd name="T40" fmla="*/ 107 w 155"/>
                <a:gd name="T41" fmla="*/ 0 h 26"/>
                <a:gd name="T42" fmla="*/ 107 w 155"/>
                <a:gd name="T43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55" h="26">
                  <a:moveTo>
                    <a:pt x="107" y="0"/>
                  </a:moveTo>
                  <a:cubicBezTo>
                    <a:pt x="98" y="0"/>
                    <a:pt x="89" y="2"/>
                    <a:pt x="80" y="7"/>
                  </a:cubicBezTo>
                  <a:cubicBezTo>
                    <a:pt x="66" y="14"/>
                    <a:pt x="52" y="17"/>
                    <a:pt x="39" y="17"/>
                  </a:cubicBezTo>
                  <a:cubicBezTo>
                    <a:pt x="23" y="17"/>
                    <a:pt x="10" y="13"/>
                    <a:pt x="0" y="5"/>
                  </a:cubicBezTo>
                  <a:cubicBezTo>
                    <a:pt x="9" y="18"/>
                    <a:pt x="27" y="26"/>
                    <a:pt x="48" y="26"/>
                  </a:cubicBezTo>
                  <a:cubicBezTo>
                    <a:pt x="61" y="26"/>
                    <a:pt x="75" y="23"/>
                    <a:pt x="90" y="16"/>
                  </a:cubicBezTo>
                  <a:cubicBezTo>
                    <a:pt x="98" y="11"/>
                    <a:pt x="107" y="9"/>
                    <a:pt x="116" y="9"/>
                  </a:cubicBezTo>
                  <a:cubicBezTo>
                    <a:pt x="130" y="9"/>
                    <a:pt x="144" y="14"/>
                    <a:pt x="155" y="24"/>
                  </a:cubicBezTo>
                  <a:cubicBezTo>
                    <a:pt x="143" y="9"/>
                    <a:pt x="126" y="0"/>
                    <a:pt x="109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0"/>
                    <a:pt x="108" y="0"/>
                    <a:pt x="107" y="0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7" y="0"/>
                    <a:pt x="107" y="0"/>
                    <a:pt x="107" y="0"/>
                  </a:cubicBez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33"/>
            <p:cNvSpPr>
              <a:spLocks/>
            </p:cNvSpPr>
            <p:nvPr/>
          </p:nvSpPr>
          <p:spPr bwMode="auto">
            <a:xfrm>
              <a:off x="7653338" y="5526402"/>
              <a:ext cx="28575" cy="125412"/>
            </a:xfrm>
            <a:custGeom>
              <a:avLst/>
              <a:gdLst>
                <a:gd name="T0" fmla="*/ 11 w 35"/>
                <a:gd name="T1" fmla="*/ 0 h 156"/>
                <a:gd name="T2" fmla="*/ 26 w 35"/>
                <a:gd name="T3" fmla="*/ 37 h 156"/>
                <a:gd name="T4" fmla="*/ 26 w 35"/>
                <a:gd name="T5" fmla="*/ 37 h 156"/>
                <a:gd name="T6" fmla="*/ 26 w 35"/>
                <a:gd name="T7" fmla="*/ 38 h 156"/>
                <a:gd name="T8" fmla="*/ 26 w 35"/>
                <a:gd name="T9" fmla="*/ 38 h 156"/>
                <a:gd name="T10" fmla="*/ 26 w 35"/>
                <a:gd name="T11" fmla="*/ 38 h 156"/>
                <a:gd name="T12" fmla="*/ 26 w 35"/>
                <a:gd name="T13" fmla="*/ 38 h 156"/>
                <a:gd name="T14" fmla="*/ 26 w 35"/>
                <a:gd name="T15" fmla="*/ 38 h 156"/>
                <a:gd name="T16" fmla="*/ 26 w 35"/>
                <a:gd name="T17" fmla="*/ 38 h 156"/>
                <a:gd name="T18" fmla="*/ 26 w 35"/>
                <a:gd name="T19" fmla="*/ 39 h 156"/>
                <a:gd name="T20" fmla="*/ 26 w 35"/>
                <a:gd name="T21" fmla="*/ 39 h 156"/>
                <a:gd name="T22" fmla="*/ 26 w 35"/>
                <a:gd name="T23" fmla="*/ 39 h 156"/>
                <a:gd name="T24" fmla="*/ 26 w 35"/>
                <a:gd name="T25" fmla="*/ 39 h 156"/>
                <a:gd name="T26" fmla="*/ 26 w 35"/>
                <a:gd name="T27" fmla="*/ 39 h 156"/>
                <a:gd name="T28" fmla="*/ 26 w 35"/>
                <a:gd name="T29" fmla="*/ 39 h 156"/>
                <a:gd name="T30" fmla="*/ 19 w 35"/>
                <a:gd name="T31" fmla="*/ 66 h 156"/>
                <a:gd name="T32" fmla="*/ 19 w 35"/>
                <a:gd name="T33" fmla="*/ 66 h 156"/>
                <a:gd name="T34" fmla="*/ 19 w 35"/>
                <a:gd name="T35" fmla="*/ 66 h 156"/>
                <a:gd name="T36" fmla="*/ 19 w 35"/>
                <a:gd name="T37" fmla="*/ 66 h 156"/>
                <a:gd name="T38" fmla="*/ 19 w 35"/>
                <a:gd name="T39" fmla="*/ 66 h 156"/>
                <a:gd name="T40" fmla="*/ 19 w 35"/>
                <a:gd name="T41" fmla="*/ 66 h 156"/>
                <a:gd name="T42" fmla="*/ 19 w 35"/>
                <a:gd name="T43" fmla="*/ 67 h 156"/>
                <a:gd name="T44" fmla="*/ 19 w 35"/>
                <a:gd name="T45" fmla="*/ 67 h 156"/>
                <a:gd name="T46" fmla="*/ 19 w 35"/>
                <a:gd name="T47" fmla="*/ 67 h 156"/>
                <a:gd name="T48" fmla="*/ 19 w 35"/>
                <a:gd name="T49" fmla="*/ 67 h 156"/>
                <a:gd name="T50" fmla="*/ 19 w 35"/>
                <a:gd name="T51" fmla="*/ 67 h 156"/>
                <a:gd name="T52" fmla="*/ 19 w 35"/>
                <a:gd name="T53" fmla="*/ 67 h 156"/>
                <a:gd name="T54" fmla="*/ 18 w 35"/>
                <a:gd name="T55" fmla="*/ 68 h 156"/>
                <a:gd name="T56" fmla="*/ 18 w 35"/>
                <a:gd name="T57" fmla="*/ 68 h 156"/>
                <a:gd name="T58" fmla="*/ 18 w 35"/>
                <a:gd name="T59" fmla="*/ 68 h 156"/>
                <a:gd name="T60" fmla="*/ 18 w 35"/>
                <a:gd name="T61" fmla="*/ 68 h 156"/>
                <a:gd name="T62" fmla="*/ 30 w 35"/>
                <a:gd name="T63" fmla="*/ 156 h 156"/>
                <a:gd name="T64" fmla="*/ 28 w 35"/>
                <a:gd name="T65" fmla="*/ 75 h 156"/>
                <a:gd name="T66" fmla="*/ 35 w 35"/>
                <a:gd name="T67" fmla="*/ 48 h 156"/>
                <a:gd name="T68" fmla="*/ 11 w 35"/>
                <a:gd name="T69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5" h="156">
                  <a:moveTo>
                    <a:pt x="11" y="0"/>
                  </a:moveTo>
                  <a:cubicBezTo>
                    <a:pt x="20" y="11"/>
                    <a:pt x="26" y="23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48"/>
                    <a:pt x="24" y="57"/>
                    <a:pt x="19" y="66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19" y="66"/>
                    <a:pt x="19" y="67"/>
                    <a:pt x="19" y="67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18" y="67"/>
                    <a:pt x="18" y="68"/>
                    <a:pt x="18" y="68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0" y="104"/>
                    <a:pt x="9" y="140"/>
                    <a:pt x="30" y="156"/>
                  </a:cubicBezTo>
                  <a:cubicBezTo>
                    <a:pt x="16" y="137"/>
                    <a:pt x="12" y="106"/>
                    <a:pt x="28" y="75"/>
                  </a:cubicBezTo>
                  <a:cubicBezTo>
                    <a:pt x="33" y="66"/>
                    <a:pt x="35" y="57"/>
                    <a:pt x="35" y="48"/>
                  </a:cubicBezTo>
                  <a:cubicBezTo>
                    <a:pt x="35" y="30"/>
                    <a:pt x="26" y="13"/>
                    <a:pt x="11" y="0"/>
                  </a:cubicBez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34"/>
            <p:cNvSpPr>
              <a:spLocks/>
            </p:cNvSpPr>
            <p:nvPr/>
          </p:nvSpPr>
          <p:spPr bwMode="auto">
            <a:xfrm>
              <a:off x="7500938" y="4950140"/>
              <a:ext cx="28575" cy="125412"/>
            </a:xfrm>
            <a:custGeom>
              <a:avLst/>
              <a:gdLst>
                <a:gd name="T0" fmla="*/ 0 w 36"/>
                <a:gd name="T1" fmla="*/ 108 h 156"/>
                <a:gd name="T2" fmla="*/ 25 w 36"/>
                <a:gd name="T3" fmla="*/ 156 h 156"/>
                <a:gd name="T4" fmla="*/ 10 w 36"/>
                <a:gd name="T5" fmla="*/ 117 h 156"/>
                <a:gd name="T6" fmla="*/ 16 w 36"/>
                <a:gd name="T7" fmla="*/ 91 h 156"/>
                <a:gd name="T8" fmla="*/ 6 w 36"/>
                <a:gd name="T9" fmla="*/ 0 h 156"/>
                <a:gd name="T10" fmla="*/ 7 w 36"/>
                <a:gd name="T11" fmla="*/ 81 h 156"/>
                <a:gd name="T12" fmla="*/ 0 w 36"/>
                <a:gd name="T13" fmla="*/ 108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56">
                  <a:moveTo>
                    <a:pt x="0" y="108"/>
                  </a:moveTo>
                  <a:cubicBezTo>
                    <a:pt x="0" y="126"/>
                    <a:pt x="10" y="143"/>
                    <a:pt x="25" y="156"/>
                  </a:cubicBezTo>
                  <a:cubicBezTo>
                    <a:pt x="15" y="145"/>
                    <a:pt x="10" y="131"/>
                    <a:pt x="10" y="117"/>
                  </a:cubicBezTo>
                  <a:cubicBezTo>
                    <a:pt x="10" y="108"/>
                    <a:pt x="12" y="99"/>
                    <a:pt x="16" y="91"/>
                  </a:cubicBezTo>
                  <a:cubicBezTo>
                    <a:pt x="36" y="54"/>
                    <a:pt x="27" y="16"/>
                    <a:pt x="6" y="0"/>
                  </a:cubicBezTo>
                  <a:cubicBezTo>
                    <a:pt x="20" y="19"/>
                    <a:pt x="23" y="50"/>
                    <a:pt x="7" y="81"/>
                  </a:cubicBezTo>
                  <a:cubicBezTo>
                    <a:pt x="3" y="90"/>
                    <a:pt x="0" y="98"/>
                    <a:pt x="0" y="108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35"/>
            <p:cNvSpPr>
              <a:spLocks/>
            </p:cNvSpPr>
            <p:nvPr/>
          </p:nvSpPr>
          <p:spPr bwMode="auto">
            <a:xfrm>
              <a:off x="7234238" y="5489890"/>
              <a:ext cx="420688" cy="168275"/>
            </a:xfrm>
            <a:custGeom>
              <a:avLst/>
              <a:gdLst>
                <a:gd name="T0" fmla="*/ 433 w 521"/>
                <a:gd name="T1" fmla="*/ 0 h 208"/>
                <a:gd name="T2" fmla="*/ 330 w 521"/>
                <a:gd name="T3" fmla="*/ 75 h 208"/>
                <a:gd name="T4" fmla="*/ 337 w 521"/>
                <a:gd name="T5" fmla="*/ 101 h 208"/>
                <a:gd name="T6" fmla="*/ 304 w 521"/>
                <a:gd name="T7" fmla="*/ 199 h 208"/>
                <a:gd name="T8" fmla="*/ 0 w 521"/>
                <a:gd name="T9" fmla="*/ 199 h 208"/>
                <a:gd name="T10" fmla="*/ 0 w 521"/>
                <a:gd name="T11" fmla="*/ 208 h 208"/>
                <a:gd name="T12" fmla="*/ 314 w 521"/>
                <a:gd name="T13" fmla="*/ 208 h 208"/>
                <a:gd name="T14" fmla="*/ 346 w 521"/>
                <a:gd name="T15" fmla="*/ 111 h 208"/>
                <a:gd name="T16" fmla="*/ 340 w 521"/>
                <a:gd name="T17" fmla="*/ 84 h 208"/>
                <a:gd name="T18" fmla="*/ 442 w 521"/>
                <a:gd name="T19" fmla="*/ 9 h 208"/>
                <a:gd name="T20" fmla="*/ 521 w 521"/>
                <a:gd name="T21" fmla="*/ 36 h 208"/>
                <a:gd name="T22" fmla="*/ 433 w 521"/>
                <a:gd name="T23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21" h="208">
                  <a:moveTo>
                    <a:pt x="433" y="0"/>
                  </a:moveTo>
                  <a:cubicBezTo>
                    <a:pt x="376" y="0"/>
                    <a:pt x="330" y="33"/>
                    <a:pt x="330" y="75"/>
                  </a:cubicBezTo>
                  <a:cubicBezTo>
                    <a:pt x="330" y="84"/>
                    <a:pt x="333" y="93"/>
                    <a:pt x="337" y="101"/>
                  </a:cubicBezTo>
                  <a:cubicBezTo>
                    <a:pt x="362" y="149"/>
                    <a:pt x="340" y="199"/>
                    <a:pt x="304" y="199"/>
                  </a:cubicBezTo>
                  <a:cubicBezTo>
                    <a:pt x="0" y="199"/>
                    <a:pt x="0" y="199"/>
                    <a:pt x="0" y="199"/>
                  </a:cubicBezTo>
                  <a:cubicBezTo>
                    <a:pt x="0" y="208"/>
                    <a:pt x="0" y="208"/>
                    <a:pt x="0" y="208"/>
                  </a:cubicBezTo>
                  <a:cubicBezTo>
                    <a:pt x="314" y="208"/>
                    <a:pt x="314" y="208"/>
                    <a:pt x="314" y="208"/>
                  </a:cubicBezTo>
                  <a:cubicBezTo>
                    <a:pt x="349" y="208"/>
                    <a:pt x="372" y="159"/>
                    <a:pt x="346" y="111"/>
                  </a:cubicBezTo>
                  <a:cubicBezTo>
                    <a:pt x="342" y="102"/>
                    <a:pt x="340" y="93"/>
                    <a:pt x="340" y="84"/>
                  </a:cubicBezTo>
                  <a:cubicBezTo>
                    <a:pt x="340" y="43"/>
                    <a:pt x="386" y="9"/>
                    <a:pt x="442" y="9"/>
                  </a:cubicBezTo>
                  <a:cubicBezTo>
                    <a:pt x="474" y="9"/>
                    <a:pt x="502" y="20"/>
                    <a:pt x="521" y="36"/>
                  </a:cubicBezTo>
                  <a:cubicBezTo>
                    <a:pt x="503" y="14"/>
                    <a:pt x="470" y="0"/>
                    <a:pt x="433" y="0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37"/>
            <p:cNvSpPr>
              <a:spLocks/>
            </p:cNvSpPr>
            <p:nvPr/>
          </p:nvSpPr>
          <p:spPr bwMode="auto">
            <a:xfrm>
              <a:off x="7669213" y="5231127"/>
              <a:ext cx="439738" cy="427037"/>
            </a:xfrm>
            <a:custGeom>
              <a:avLst/>
              <a:gdLst>
                <a:gd name="T0" fmla="*/ 508 w 544"/>
                <a:gd name="T1" fmla="*/ 0 h 530"/>
                <a:gd name="T2" fmla="*/ 534 w 544"/>
                <a:gd name="T3" fmla="*/ 78 h 530"/>
                <a:gd name="T4" fmla="*/ 460 w 544"/>
                <a:gd name="T5" fmla="*/ 181 h 530"/>
                <a:gd name="T6" fmla="*/ 433 w 544"/>
                <a:gd name="T7" fmla="*/ 174 h 530"/>
                <a:gd name="T8" fmla="*/ 336 w 544"/>
                <a:gd name="T9" fmla="*/ 207 h 530"/>
                <a:gd name="T10" fmla="*/ 336 w 544"/>
                <a:gd name="T11" fmla="*/ 521 h 530"/>
                <a:gd name="T12" fmla="*/ 22 w 544"/>
                <a:gd name="T13" fmla="*/ 521 h 530"/>
                <a:gd name="T14" fmla="*/ 0 w 544"/>
                <a:gd name="T15" fmla="*/ 513 h 530"/>
                <a:gd name="T16" fmla="*/ 31 w 544"/>
                <a:gd name="T17" fmla="*/ 530 h 530"/>
                <a:gd name="T18" fmla="*/ 345 w 544"/>
                <a:gd name="T19" fmla="*/ 530 h 530"/>
                <a:gd name="T20" fmla="*/ 345 w 544"/>
                <a:gd name="T21" fmla="*/ 216 h 530"/>
                <a:gd name="T22" fmla="*/ 442 w 544"/>
                <a:gd name="T23" fmla="*/ 183 h 530"/>
                <a:gd name="T24" fmla="*/ 469 w 544"/>
                <a:gd name="T25" fmla="*/ 190 h 530"/>
                <a:gd name="T26" fmla="*/ 544 w 544"/>
                <a:gd name="T27" fmla="*/ 88 h 530"/>
                <a:gd name="T28" fmla="*/ 508 w 544"/>
                <a:gd name="T29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44" h="530">
                  <a:moveTo>
                    <a:pt x="508" y="0"/>
                  </a:moveTo>
                  <a:cubicBezTo>
                    <a:pt x="524" y="19"/>
                    <a:pt x="534" y="47"/>
                    <a:pt x="534" y="78"/>
                  </a:cubicBezTo>
                  <a:cubicBezTo>
                    <a:pt x="534" y="135"/>
                    <a:pt x="501" y="181"/>
                    <a:pt x="460" y="181"/>
                  </a:cubicBezTo>
                  <a:cubicBezTo>
                    <a:pt x="450" y="181"/>
                    <a:pt x="442" y="179"/>
                    <a:pt x="433" y="174"/>
                  </a:cubicBezTo>
                  <a:cubicBezTo>
                    <a:pt x="385" y="149"/>
                    <a:pt x="336" y="172"/>
                    <a:pt x="336" y="207"/>
                  </a:cubicBezTo>
                  <a:cubicBezTo>
                    <a:pt x="336" y="521"/>
                    <a:pt x="336" y="521"/>
                    <a:pt x="336" y="521"/>
                  </a:cubicBezTo>
                  <a:cubicBezTo>
                    <a:pt x="22" y="521"/>
                    <a:pt x="22" y="521"/>
                    <a:pt x="22" y="521"/>
                  </a:cubicBezTo>
                  <a:cubicBezTo>
                    <a:pt x="14" y="521"/>
                    <a:pt x="6" y="518"/>
                    <a:pt x="0" y="513"/>
                  </a:cubicBezTo>
                  <a:cubicBezTo>
                    <a:pt x="7" y="524"/>
                    <a:pt x="18" y="530"/>
                    <a:pt x="31" y="530"/>
                  </a:cubicBezTo>
                  <a:cubicBezTo>
                    <a:pt x="345" y="530"/>
                    <a:pt x="345" y="530"/>
                    <a:pt x="345" y="530"/>
                  </a:cubicBezTo>
                  <a:cubicBezTo>
                    <a:pt x="345" y="216"/>
                    <a:pt x="345" y="216"/>
                    <a:pt x="345" y="216"/>
                  </a:cubicBezTo>
                  <a:cubicBezTo>
                    <a:pt x="345" y="181"/>
                    <a:pt x="394" y="158"/>
                    <a:pt x="442" y="183"/>
                  </a:cubicBezTo>
                  <a:cubicBezTo>
                    <a:pt x="451" y="188"/>
                    <a:pt x="460" y="190"/>
                    <a:pt x="469" y="190"/>
                  </a:cubicBezTo>
                  <a:cubicBezTo>
                    <a:pt x="510" y="190"/>
                    <a:pt x="544" y="144"/>
                    <a:pt x="544" y="88"/>
                  </a:cubicBezTo>
                  <a:cubicBezTo>
                    <a:pt x="544" y="50"/>
                    <a:pt x="529" y="18"/>
                    <a:pt x="508" y="0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38"/>
            <p:cNvSpPr>
              <a:spLocks/>
            </p:cNvSpPr>
            <p:nvPr/>
          </p:nvSpPr>
          <p:spPr bwMode="auto">
            <a:xfrm>
              <a:off x="7940675" y="4943790"/>
              <a:ext cx="12700" cy="271462"/>
            </a:xfrm>
            <a:custGeom>
              <a:avLst/>
              <a:gdLst>
                <a:gd name="T0" fmla="*/ 16 w 16"/>
                <a:gd name="T1" fmla="*/ 336 h 336"/>
                <a:gd name="T2" fmla="*/ 9 w 16"/>
                <a:gd name="T3" fmla="*/ 314 h 336"/>
                <a:gd name="T4" fmla="*/ 9 w 16"/>
                <a:gd name="T5" fmla="*/ 0 h 336"/>
                <a:gd name="T6" fmla="*/ 0 w 16"/>
                <a:gd name="T7" fmla="*/ 0 h 336"/>
                <a:gd name="T8" fmla="*/ 0 w 16"/>
                <a:gd name="T9" fmla="*/ 305 h 336"/>
                <a:gd name="T10" fmla="*/ 16 w 16"/>
                <a:gd name="T11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336">
                  <a:moveTo>
                    <a:pt x="16" y="336"/>
                  </a:moveTo>
                  <a:cubicBezTo>
                    <a:pt x="12" y="330"/>
                    <a:pt x="9" y="322"/>
                    <a:pt x="9" y="314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05"/>
                    <a:pt x="0" y="305"/>
                    <a:pt x="0" y="305"/>
                  </a:cubicBezTo>
                  <a:cubicBezTo>
                    <a:pt x="0" y="317"/>
                    <a:pt x="6" y="328"/>
                    <a:pt x="16" y="336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58" name="Group 15"/>
          <p:cNvGrpSpPr/>
          <p:nvPr/>
        </p:nvGrpSpPr>
        <p:grpSpPr>
          <a:xfrm>
            <a:off x="9155366" y="4706282"/>
            <a:ext cx="1092009" cy="753167"/>
            <a:chOff x="9356725" y="4943790"/>
            <a:chExt cx="1033463" cy="712787"/>
          </a:xfrm>
        </p:grpSpPr>
        <p:sp>
          <p:nvSpPr>
            <p:cNvPr id="159" name="Freeform 40"/>
            <p:cNvSpPr>
              <a:spLocks/>
            </p:cNvSpPr>
            <p:nvPr/>
          </p:nvSpPr>
          <p:spPr bwMode="auto">
            <a:xfrm>
              <a:off x="9356725" y="4943790"/>
              <a:ext cx="1033463" cy="712787"/>
            </a:xfrm>
            <a:custGeom>
              <a:avLst/>
              <a:gdLst>
                <a:gd name="T0" fmla="*/ 1208 w 1283"/>
                <a:gd name="T1" fmla="*/ 340 h 885"/>
                <a:gd name="T2" fmla="*/ 1181 w 1283"/>
                <a:gd name="T3" fmla="*/ 346 h 885"/>
                <a:gd name="T4" fmla="*/ 1084 w 1283"/>
                <a:gd name="T5" fmla="*/ 314 h 885"/>
                <a:gd name="T6" fmla="*/ 1084 w 1283"/>
                <a:gd name="T7" fmla="*/ 0 h 885"/>
                <a:gd name="T8" fmla="*/ 770 w 1283"/>
                <a:gd name="T9" fmla="*/ 0 h 885"/>
                <a:gd name="T10" fmla="*/ 737 w 1283"/>
                <a:gd name="T11" fmla="*/ 97 h 885"/>
                <a:gd name="T12" fmla="*/ 744 w 1283"/>
                <a:gd name="T13" fmla="*/ 124 h 885"/>
                <a:gd name="T14" fmla="*/ 641 w 1283"/>
                <a:gd name="T15" fmla="*/ 198 h 885"/>
                <a:gd name="T16" fmla="*/ 539 w 1283"/>
                <a:gd name="T17" fmla="*/ 124 h 885"/>
                <a:gd name="T18" fmla="*/ 545 w 1283"/>
                <a:gd name="T19" fmla="*/ 97 h 885"/>
                <a:gd name="T20" fmla="*/ 513 w 1283"/>
                <a:gd name="T21" fmla="*/ 0 h 885"/>
                <a:gd name="T22" fmla="*/ 199 w 1283"/>
                <a:gd name="T23" fmla="*/ 0 h 885"/>
                <a:gd name="T24" fmla="*/ 199 w 1283"/>
                <a:gd name="T25" fmla="*/ 314 h 885"/>
                <a:gd name="T26" fmla="*/ 101 w 1283"/>
                <a:gd name="T27" fmla="*/ 346 h 885"/>
                <a:gd name="T28" fmla="*/ 75 w 1283"/>
                <a:gd name="T29" fmla="*/ 340 h 885"/>
                <a:gd name="T30" fmla="*/ 0 w 1283"/>
                <a:gd name="T31" fmla="*/ 442 h 885"/>
                <a:gd name="T32" fmla="*/ 75 w 1283"/>
                <a:gd name="T33" fmla="*/ 545 h 885"/>
                <a:gd name="T34" fmla="*/ 101 w 1283"/>
                <a:gd name="T35" fmla="*/ 538 h 885"/>
                <a:gd name="T36" fmla="*/ 199 w 1283"/>
                <a:gd name="T37" fmla="*/ 571 h 885"/>
                <a:gd name="T38" fmla="*/ 199 w 1283"/>
                <a:gd name="T39" fmla="*/ 885 h 885"/>
                <a:gd name="T40" fmla="*/ 513 w 1283"/>
                <a:gd name="T41" fmla="*/ 885 h 885"/>
                <a:gd name="T42" fmla="*/ 545 w 1283"/>
                <a:gd name="T43" fmla="*/ 787 h 885"/>
                <a:gd name="T44" fmla="*/ 539 w 1283"/>
                <a:gd name="T45" fmla="*/ 761 h 885"/>
                <a:gd name="T46" fmla="*/ 641 w 1283"/>
                <a:gd name="T47" fmla="*/ 686 h 885"/>
                <a:gd name="T48" fmla="*/ 744 w 1283"/>
                <a:gd name="T49" fmla="*/ 761 h 885"/>
                <a:gd name="T50" fmla="*/ 737 w 1283"/>
                <a:gd name="T51" fmla="*/ 787 h 885"/>
                <a:gd name="T52" fmla="*/ 770 w 1283"/>
                <a:gd name="T53" fmla="*/ 885 h 885"/>
                <a:gd name="T54" fmla="*/ 1084 w 1283"/>
                <a:gd name="T55" fmla="*/ 885 h 885"/>
                <a:gd name="T56" fmla="*/ 1084 w 1283"/>
                <a:gd name="T57" fmla="*/ 571 h 885"/>
                <a:gd name="T58" fmla="*/ 1181 w 1283"/>
                <a:gd name="T59" fmla="*/ 538 h 885"/>
                <a:gd name="T60" fmla="*/ 1208 w 1283"/>
                <a:gd name="T61" fmla="*/ 545 h 885"/>
                <a:gd name="T62" fmla="*/ 1283 w 1283"/>
                <a:gd name="T63" fmla="*/ 442 h 885"/>
                <a:gd name="T64" fmla="*/ 1208 w 1283"/>
                <a:gd name="T65" fmla="*/ 340 h 8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83" h="885">
                  <a:moveTo>
                    <a:pt x="1208" y="340"/>
                  </a:moveTo>
                  <a:cubicBezTo>
                    <a:pt x="1199" y="340"/>
                    <a:pt x="1190" y="342"/>
                    <a:pt x="1181" y="346"/>
                  </a:cubicBezTo>
                  <a:cubicBezTo>
                    <a:pt x="1133" y="371"/>
                    <a:pt x="1084" y="349"/>
                    <a:pt x="1084" y="314"/>
                  </a:cubicBezTo>
                  <a:cubicBezTo>
                    <a:pt x="1084" y="0"/>
                    <a:pt x="1084" y="0"/>
                    <a:pt x="1084" y="0"/>
                  </a:cubicBezTo>
                  <a:cubicBezTo>
                    <a:pt x="770" y="0"/>
                    <a:pt x="770" y="0"/>
                    <a:pt x="770" y="0"/>
                  </a:cubicBezTo>
                  <a:cubicBezTo>
                    <a:pt x="735" y="0"/>
                    <a:pt x="712" y="49"/>
                    <a:pt x="737" y="97"/>
                  </a:cubicBezTo>
                  <a:cubicBezTo>
                    <a:pt x="742" y="105"/>
                    <a:pt x="744" y="114"/>
                    <a:pt x="744" y="124"/>
                  </a:cubicBezTo>
                  <a:cubicBezTo>
                    <a:pt x="744" y="165"/>
                    <a:pt x="698" y="198"/>
                    <a:pt x="641" y="198"/>
                  </a:cubicBezTo>
                  <a:cubicBezTo>
                    <a:pt x="585" y="198"/>
                    <a:pt x="539" y="165"/>
                    <a:pt x="539" y="124"/>
                  </a:cubicBezTo>
                  <a:cubicBezTo>
                    <a:pt x="539" y="114"/>
                    <a:pt x="541" y="105"/>
                    <a:pt x="545" y="97"/>
                  </a:cubicBezTo>
                  <a:cubicBezTo>
                    <a:pt x="571" y="49"/>
                    <a:pt x="548" y="0"/>
                    <a:pt x="513" y="0"/>
                  </a:cubicBezTo>
                  <a:cubicBezTo>
                    <a:pt x="199" y="0"/>
                    <a:pt x="199" y="0"/>
                    <a:pt x="199" y="0"/>
                  </a:cubicBezTo>
                  <a:cubicBezTo>
                    <a:pt x="199" y="314"/>
                    <a:pt x="199" y="314"/>
                    <a:pt x="199" y="314"/>
                  </a:cubicBezTo>
                  <a:cubicBezTo>
                    <a:pt x="199" y="349"/>
                    <a:pt x="149" y="371"/>
                    <a:pt x="101" y="346"/>
                  </a:cubicBezTo>
                  <a:cubicBezTo>
                    <a:pt x="93" y="342"/>
                    <a:pt x="84" y="340"/>
                    <a:pt x="75" y="340"/>
                  </a:cubicBezTo>
                  <a:cubicBezTo>
                    <a:pt x="33" y="340"/>
                    <a:pt x="0" y="385"/>
                    <a:pt x="0" y="442"/>
                  </a:cubicBezTo>
                  <a:cubicBezTo>
                    <a:pt x="0" y="499"/>
                    <a:pt x="33" y="545"/>
                    <a:pt x="75" y="545"/>
                  </a:cubicBezTo>
                  <a:cubicBezTo>
                    <a:pt x="84" y="545"/>
                    <a:pt x="93" y="543"/>
                    <a:pt x="101" y="538"/>
                  </a:cubicBezTo>
                  <a:cubicBezTo>
                    <a:pt x="149" y="513"/>
                    <a:pt x="199" y="536"/>
                    <a:pt x="199" y="571"/>
                  </a:cubicBezTo>
                  <a:cubicBezTo>
                    <a:pt x="199" y="885"/>
                    <a:pt x="199" y="885"/>
                    <a:pt x="199" y="885"/>
                  </a:cubicBezTo>
                  <a:cubicBezTo>
                    <a:pt x="513" y="885"/>
                    <a:pt x="513" y="885"/>
                    <a:pt x="513" y="885"/>
                  </a:cubicBezTo>
                  <a:cubicBezTo>
                    <a:pt x="548" y="885"/>
                    <a:pt x="571" y="835"/>
                    <a:pt x="545" y="787"/>
                  </a:cubicBezTo>
                  <a:cubicBezTo>
                    <a:pt x="541" y="779"/>
                    <a:pt x="539" y="770"/>
                    <a:pt x="539" y="761"/>
                  </a:cubicBezTo>
                  <a:cubicBezTo>
                    <a:pt x="539" y="719"/>
                    <a:pt x="585" y="686"/>
                    <a:pt x="641" y="686"/>
                  </a:cubicBezTo>
                  <a:cubicBezTo>
                    <a:pt x="698" y="686"/>
                    <a:pt x="744" y="719"/>
                    <a:pt x="744" y="761"/>
                  </a:cubicBezTo>
                  <a:cubicBezTo>
                    <a:pt x="744" y="770"/>
                    <a:pt x="742" y="779"/>
                    <a:pt x="737" y="787"/>
                  </a:cubicBezTo>
                  <a:cubicBezTo>
                    <a:pt x="712" y="835"/>
                    <a:pt x="735" y="885"/>
                    <a:pt x="770" y="885"/>
                  </a:cubicBezTo>
                  <a:cubicBezTo>
                    <a:pt x="1084" y="885"/>
                    <a:pt x="1084" y="885"/>
                    <a:pt x="1084" y="885"/>
                  </a:cubicBezTo>
                  <a:cubicBezTo>
                    <a:pt x="1084" y="571"/>
                    <a:pt x="1084" y="571"/>
                    <a:pt x="1084" y="571"/>
                  </a:cubicBezTo>
                  <a:cubicBezTo>
                    <a:pt x="1084" y="536"/>
                    <a:pt x="1133" y="513"/>
                    <a:pt x="1181" y="538"/>
                  </a:cubicBezTo>
                  <a:cubicBezTo>
                    <a:pt x="1190" y="543"/>
                    <a:pt x="1199" y="545"/>
                    <a:pt x="1208" y="545"/>
                  </a:cubicBezTo>
                  <a:cubicBezTo>
                    <a:pt x="1249" y="545"/>
                    <a:pt x="1283" y="499"/>
                    <a:pt x="1283" y="442"/>
                  </a:cubicBezTo>
                  <a:cubicBezTo>
                    <a:pt x="1283" y="385"/>
                    <a:pt x="1249" y="340"/>
                    <a:pt x="1208" y="340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42"/>
            <p:cNvSpPr>
              <a:spLocks/>
            </p:cNvSpPr>
            <p:nvPr/>
          </p:nvSpPr>
          <p:spPr bwMode="auto">
            <a:xfrm>
              <a:off x="9810750" y="4943790"/>
              <a:ext cx="419100" cy="166687"/>
            </a:xfrm>
            <a:custGeom>
              <a:avLst/>
              <a:gdLst>
                <a:gd name="T0" fmla="*/ 207 w 521"/>
                <a:gd name="T1" fmla="*/ 0 h 207"/>
                <a:gd name="T2" fmla="*/ 174 w 521"/>
                <a:gd name="T3" fmla="*/ 97 h 207"/>
                <a:gd name="T4" fmla="*/ 181 w 521"/>
                <a:gd name="T5" fmla="*/ 124 h 207"/>
                <a:gd name="T6" fmla="*/ 78 w 521"/>
                <a:gd name="T7" fmla="*/ 198 h 207"/>
                <a:gd name="T8" fmla="*/ 78 w 521"/>
                <a:gd name="T9" fmla="*/ 198 h 207"/>
                <a:gd name="T10" fmla="*/ 77 w 521"/>
                <a:gd name="T11" fmla="*/ 198 h 207"/>
                <a:gd name="T12" fmla="*/ 77 w 521"/>
                <a:gd name="T13" fmla="*/ 198 h 207"/>
                <a:gd name="T14" fmla="*/ 77 w 521"/>
                <a:gd name="T15" fmla="*/ 198 h 207"/>
                <a:gd name="T16" fmla="*/ 76 w 521"/>
                <a:gd name="T17" fmla="*/ 198 h 207"/>
                <a:gd name="T18" fmla="*/ 76 w 521"/>
                <a:gd name="T19" fmla="*/ 198 h 207"/>
                <a:gd name="T20" fmla="*/ 76 w 521"/>
                <a:gd name="T21" fmla="*/ 198 h 207"/>
                <a:gd name="T22" fmla="*/ 75 w 521"/>
                <a:gd name="T23" fmla="*/ 198 h 207"/>
                <a:gd name="T24" fmla="*/ 75 w 521"/>
                <a:gd name="T25" fmla="*/ 198 h 207"/>
                <a:gd name="T26" fmla="*/ 75 w 521"/>
                <a:gd name="T27" fmla="*/ 198 h 207"/>
                <a:gd name="T28" fmla="*/ 74 w 521"/>
                <a:gd name="T29" fmla="*/ 198 h 207"/>
                <a:gd name="T30" fmla="*/ 74 w 521"/>
                <a:gd name="T31" fmla="*/ 198 h 207"/>
                <a:gd name="T32" fmla="*/ 73 w 521"/>
                <a:gd name="T33" fmla="*/ 198 h 207"/>
                <a:gd name="T34" fmla="*/ 73 w 521"/>
                <a:gd name="T35" fmla="*/ 198 h 207"/>
                <a:gd name="T36" fmla="*/ 73 w 521"/>
                <a:gd name="T37" fmla="*/ 198 h 207"/>
                <a:gd name="T38" fmla="*/ 72 w 521"/>
                <a:gd name="T39" fmla="*/ 198 h 207"/>
                <a:gd name="T40" fmla="*/ 72 w 521"/>
                <a:gd name="T41" fmla="*/ 198 h 207"/>
                <a:gd name="T42" fmla="*/ 71 w 521"/>
                <a:gd name="T43" fmla="*/ 198 h 207"/>
                <a:gd name="T44" fmla="*/ 71 w 521"/>
                <a:gd name="T45" fmla="*/ 198 h 207"/>
                <a:gd name="T46" fmla="*/ 71 w 521"/>
                <a:gd name="T47" fmla="*/ 198 h 207"/>
                <a:gd name="T48" fmla="*/ 71 w 521"/>
                <a:gd name="T49" fmla="*/ 198 h 207"/>
                <a:gd name="T50" fmla="*/ 70 w 521"/>
                <a:gd name="T51" fmla="*/ 198 h 207"/>
                <a:gd name="T52" fmla="*/ 70 w 521"/>
                <a:gd name="T53" fmla="*/ 198 h 207"/>
                <a:gd name="T54" fmla="*/ 69 w 521"/>
                <a:gd name="T55" fmla="*/ 198 h 207"/>
                <a:gd name="T56" fmla="*/ 69 w 521"/>
                <a:gd name="T57" fmla="*/ 198 h 207"/>
                <a:gd name="T58" fmla="*/ 68 w 521"/>
                <a:gd name="T59" fmla="*/ 198 h 207"/>
                <a:gd name="T60" fmla="*/ 68 w 521"/>
                <a:gd name="T61" fmla="*/ 198 h 207"/>
                <a:gd name="T62" fmla="*/ 67 w 521"/>
                <a:gd name="T63" fmla="*/ 198 h 207"/>
                <a:gd name="T64" fmla="*/ 67 w 521"/>
                <a:gd name="T65" fmla="*/ 198 h 207"/>
                <a:gd name="T66" fmla="*/ 67 w 521"/>
                <a:gd name="T67" fmla="*/ 198 h 207"/>
                <a:gd name="T68" fmla="*/ 66 w 521"/>
                <a:gd name="T69" fmla="*/ 198 h 207"/>
                <a:gd name="T70" fmla="*/ 66 w 521"/>
                <a:gd name="T71" fmla="*/ 198 h 207"/>
                <a:gd name="T72" fmla="*/ 66 w 521"/>
                <a:gd name="T73" fmla="*/ 198 h 207"/>
                <a:gd name="T74" fmla="*/ 65 w 521"/>
                <a:gd name="T75" fmla="*/ 198 h 207"/>
                <a:gd name="T76" fmla="*/ 65 w 521"/>
                <a:gd name="T77" fmla="*/ 198 h 207"/>
                <a:gd name="T78" fmla="*/ 64 w 521"/>
                <a:gd name="T79" fmla="*/ 198 h 207"/>
                <a:gd name="T80" fmla="*/ 64 w 521"/>
                <a:gd name="T81" fmla="*/ 198 h 207"/>
                <a:gd name="T82" fmla="*/ 63 w 521"/>
                <a:gd name="T83" fmla="*/ 198 h 207"/>
                <a:gd name="T84" fmla="*/ 87 w 521"/>
                <a:gd name="T85" fmla="*/ 207 h 207"/>
                <a:gd name="T86" fmla="*/ 183 w 521"/>
                <a:gd name="T87" fmla="*/ 106 h 207"/>
                <a:gd name="T88" fmla="*/ 521 w 521"/>
                <a:gd name="T89" fmla="*/ 9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21" h="207">
                  <a:moveTo>
                    <a:pt x="521" y="0"/>
                  </a:moveTo>
                  <a:cubicBezTo>
                    <a:pt x="207" y="0"/>
                    <a:pt x="207" y="0"/>
                    <a:pt x="207" y="0"/>
                  </a:cubicBezTo>
                  <a:cubicBezTo>
                    <a:pt x="182" y="0"/>
                    <a:pt x="164" y="24"/>
                    <a:pt x="164" y="56"/>
                  </a:cubicBezTo>
                  <a:cubicBezTo>
                    <a:pt x="164" y="69"/>
                    <a:pt x="167" y="83"/>
                    <a:pt x="174" y="97"/>
                  </a:cubicBezTo>
                  <a:cubicBezTo>
                    <a:pt x="179" y="105"/>
                    <a:pt x="181" y="114"/>
                    <a:pt x="181" y="124"/>
                  </a:cubicBezTo>
                  <a:cubicBezTo>
                    <a:pt x="181" y="124"/>
                    <a:pt x="181" y="124"/>
                    <a:pt x="181" y="124"/>
                  </a:cubicBezTo>
                  <a:cubicBezTo>
                    <a:pt x="181" y="124"/>
                    <a:pt x="181" y="124"/>
                    <a:pt x="181" y="124"/>
                  </a:cubicBezTo>
                  <a:cubicBezTo>
                    <a:pt x="181" y="165"/>
                    <a:pt x="135" y="198"/>
                    <a:pt x="78" y="198"/>
                  </a:cubicBezTo>
                  <a:cubicBezTo>
                    <a:pt x="78" y="198"/>
                    <a:pt x="78" y="198"/>
                    <a:pt x="78" y="198"/>
                  </a:cubicBezTo>
                  <a:cubicBezTo>
                    <a:pt x="78" y="198"/>
                    <a:pt x="78" y="198"/>
                    <a:pt x="78" y="198"/>
                  </a:cubicBezTo>
                  <a:cubicBezTo>
                    <a:pt x="78" y="198"/>
                    <a:pt x="78" y="198"/>
                    <a:pt x="78" y="198"/>
                  </a:cubicBezTo>
                  <a:cubicBezTo>
                    <a:pt x="78" y="198"/>
                    <a:pt x="78" y="198"/>
                    <a:pt x="77" y="198"/>
                  </a:cubicBezTo>
                  <a:cubicBezTo>
                    <a:pt x="77" y="198"/>
                    <a:pt x="77" y="198"/>
                    <a:pt x="77" y="198"/>
                  </a:cubicBezTo>
                  <a:cubicBezTo>
                    <a:pt x="77" y="198"/>
                    <a:pt x="77" y="198"/>
                    <a:pt x="77" y="198"/>
                  </a:cubicBezTo>
                  <a:cubicBezTo>
                    <a:pt x="77" y="198"/>
                    <a:pt x="77" y="198"/>
                    <a:pt x="77" y="198"/>
                  </a:cubicBezTo>
                  <a:cubicBezTo>
                    <a:pt x="77" y="198"/>
                    <a:pt x="77" y="198"/>
                    <a:pt x="77" y="198"/>
                  </a:cubicBezTo>
                  <a:cubicBezTo>
                    <a:pt x="77" y="198"/>
                    <a:pt x="77" y="198"/>
                    <a:pt x="77" y="198"/>
                  </a:cubicBezTo>
                  <a:cubicBezTo>
                    <a:pt x="77" y="198"/>
                    <a:pt x="76" y="198"/>
                    <a:pt x="76" y="198"/>
                  </a:cubicBezTo>
                  <a:cubicBezTo>
                    <a:pt x="76" y="198"/>
                    <a:pt x="76" y="198"/>
                    <a:pt x="76" y="198"/>
                  </a:cubicBezTo>
                  <a:cubicBezTo>
                    <a:pt x="76" y="198"/>
                    <a:pt x="76" y="198"/>
                    <a:pt x="76" y="198"/>
                  </a:cubicBezTo>
                  <a:cubicBezTo>
                    <a:pt x="76" y="198"/>
                    <a:pt x="76" y="198"/>
                    <a:pt x="76" y="198"/>
                  </a:cubicBezTo>
                  <a:cubicBezTo>
                    <a:pt x="76" y="198"/>
                    <a:pt x="76" y="198"/>
                    <a:pt x="76" y="198"/>
                  </a:cubicBezTo>
                  <a:cubicBezTo>
                    <a:pt x="76" y="198"/>
                    <a:pt x="76" y="198"/>
                    <a:pt x="76" y="198"/>
                  </a:cubicBezTo>
                  <a:cubicBezTo>
                    <a:pt x="75" y="198"/>
                    <a:pt x="75" y="198"/>
                    <a:pt x="75" y="198"/>
                  </a:cubicBezTo>
                  <a:cubicBezTo>
                    <a:pt x="75" y="198"/>
                    <a:pt x="75" y="198"/>
                    <a:pt x="75" y="198"/>
                  </a:cubicBezTo>
                  <a:cubicBezTo>
                    <a:pt x="75" y="198"/>
                    <a:pt x="75" y="198"/>
                    <a:pt x="75" y="198"/>
                  </a:cubicBezTo>
                  <a:cubicBezTo>
                    <a:pt x="75" y="198"/>
                    <a:pt x="75" y="198"/>
                    <a:pt x="75" y="198"/>
                  </a:cubicBezTo>
                  <a:cubicBezTo>
                    <a:pt x="75" y="198"/>
                    <a:pt x="75" y="198"/>
                    <a:pt x="75" y="198"/>
                  </a:cubicBezTo>
                  <a:cubicBezTo>
                    <a:pt x="74" y="198"/>
                    <a:pt x="74" y="198"/>
                    <a:pt x="74" y="198"/>
                  </a:cubicBezTo>
                  <a:cubicBezTo>
                    <a:pt x="74" y="198"/>
                    <a:pt x="74" y="198"/>
                    <a:pt x="74" y="198"/>
                  </a:cubicBezTo>
                  <a:cubicBezTo>
                    <a:pt x="74" y="198"/>
                    <a:pt x="74" y="198"/>
                    <a:pt x="74" y="198"/>
                  </a:cubicBezTo>
                  <a:cubicBezTo>
                    <a:pt x="74" y="198"/>
                    <a:pt x="74" y="198"/>
                    <a:pt x="74" y="198"/>
                  </a:cubicBezTo>
                  <a:cubicBezTo>
                    <a:pt x="74" y="198"/>
                    <a:pt x="74" y="198"/>
                    <a:pt x="74" y="198"/>
                  </a:cubicBezTo>
                  <a:cubicBezTo>
                    <a:pt x="74" y="198"/>
                    <a:pt x="74" y="198"/>
                    <a:pt x="73" y="198"/>
                  </a:cubicBezTo>
                  <a:cubicBezTo>
                    <a:pt x="73" y="198"/>
                    <a:pt x="73" y="198"/>
                    <a:pt x="73" y="198"/>
                  </a:cubicBezTo>
                  <a:cubicBezTo>
                    <a:pt x="73" y="198"/>
                    <a:pt x="73" y="198"/>
                    <a:pt x="73" y="198"/>
                  </a:cubicBezTo>
                  <a:cubicBezTo>
                    <a:pt x="73" y="198"/>
                    <a:pt x="73" y="198"/>
                    <a:pt x="73" y="198"/>
                  </a:cubicBezTo>
                  <a:cubicBezTo>
                    <a:pt x="73" y="198"/>
                    <a:pt x="73" y="198"/>
                    <a:pt x="73" y="198"/>
                  </a:cubicBezTo>
                  <a:cubicBezTo>
                    <a:pt x="73" y="198"/>
                    <a:pt x="73" y="198"/>
                    <a:pt x="73" y="198"/>
                  </a:cubicBezTo>
                  <a:cubicBezTo>
                    <a:pt x="73" y="198"/>
                    <a:pt x="72" y="198"/>
                    <a:pt x="72" y="198"/>
                  </a:cubicBezTo>
                  <a:cubicBezTo>
                    <a:pt x="72" y="198"/>
                    <a:pt x="72" y="198"/>
                    <a:pt x="72" y="198"/>
                  </a:cubicBezTo>
                  <a:cubicBezTo>
                    <a:pt x="72" y="198"/>
                    <a:pt x="72" y="198"/>
                    <a:pt x="72" y="198"/>
                  </a:cubicBezTo>
                  <a:cubicBezTo>
                    <a:pt x="72" y="198"/>
                    <a:pt x="72" y="198"/>
                    <a:pt x="72" y="198"/>
                  </a:cubicBezTo>
                  <a:cubicBezTo>
                    <a:pt x="72" y="198"/>
                    <a:pt x="72" y="198"/>
                    <a:pt x="71" y="198"/>
                  </a:cubicBezTo>
                  <a:cubicBezTo>
                    <a:pt x="71" y="198"/>
                    <a:pt x="71" y="198"/>
                    <a:pt x="71" y="198"/>
                  </a:cubicBezTo>
                  <a:cubicBezTo>
                    <a:pt x="71" y="198"/>
                    <a:pt x="71" y="198"/>
                    <a:pt x="71" y="198"/>
                  </a:cubicBezTo>
                  <a:cubicBezTo>
                    <a:pt x="71" y="198"/>
                    <a:pt x="71" y="198"/>
                    <a:pt x="71" y="198"/>
                  </a:cubicBezTo>
                  <a:cubicBezTo>
                    <a:pt x="71" y="198"/>
                    <a:pt x="71" y="198"/>
                    <a:pt x="71" y="198"/>
                  </a:cubicBezTo>
                  <a:cubicBezTo>
                    <a:pt x="71" y="198"/>
                    <a:pt x="71" y="198"/>
                    <a:pt x="71" y="198"/>
                  </a:cubicBezTo>
                  <a:cubicBezTo>
                    <a:pt x="71" y="198"/>
                    <a:pt x="71" y="198"/>
                    <a:pt x="71" y="198"/>
                  </a:cubicBezTo>
                  <a:cubicBezTo>
                    <a:pt x="70" y="198"/>
                    <a:pt x="70" y="198"/>
                    <a:pt x="70" y="198"/>
                  </a:cubicBezTo>
                  <a:cubicBezTo>
                    <a:pt x="70" y="198"/>
                    <a:pt x="70" y="198"/>
                    <a:pt x="70" y="198"/>
                  </a:cubicBezTo>
                  <a:cubicBezTo>
                    <a:pt x="70" y="198"/>
                    <a:pt x="70" y="198"/>
                    <a:pt x="70" y="198"/>
                  </a:cubicBezTo>
                  <a:cubicBezTo>
                    <a:pt x="70" y="198"/>
                    <a:pt x="70" y="198"/>
                    <a:pt x="70" y="198"/>
                  </a:cubicBezTo>
                  <a:cubicBezTo>
                    <a:pt x="70" y="198"/>
                    <a:pt x="70" y="198"/>
                    <a:pt x="70" y="198"/>
                  </a:cubicBezTo>
                  <a:cubicBezTo>
                    <a:pt x="70" y="198"/>
                    <a:pt x="70" y="198"/>
                    <a:pt x="69" y="198"/>
                  </a:cubicBezTo>
                  <a:cubicBezTo>
                    <a:pt x="69" y="198"/>
                    <a:pt x="69" y="198"/>
                    <a:pt x="69" y="198"/>
                  </a:cubicBezTo>
                  <a:cubicBezTo>
                    <a:pt x="69" y="198"/>
                    <a:pt x="69" y="198"/>
                    <a:pt x="69" y="198"/>
                  </a:cubicBezTo>
                  <a:cubicBezTo>
                    <a:pt x="69" y="198"/>
                    <a:pt x="69" y="198"/>
                    <a:pt x="69" y="198"/>
                  </a:cubicBezTo>
                  <a:cubicBezTo>
                    <a:pt x="69" y="198"/>
                    <a:pt x="68" y="198"/>
                    <a:pt x="68" y="198"/>
                  </a:cubicBezTo>
                  <a:cubicBezTo>
                    <a:pt x="68" y="198"/>
                    <a:pt x="68" y="198"/>
                    <a:pt x="68" y="198"/>
                  </a:cubicBezTo>
                  <a:cubicBezTo>
                    <a:pt x="68" y="198"/>
                    <a:pt x="68" y="198"/>
                    <a:pt x="68" y="198"/>
                  </a:cubicBezTo>
                  <a:cubicBezTo>
                    <a:pt x="68" y="198"/>
                    <a:pt x="68" y="198"/>
                    <a:pt x="67" y="198"/>
                  </a:cubicBezTo>
                  <a:cubicBezTo>
                    <a:pt x="67" y="198"/>
                    <a:pt x="67" y="198"/>
                    <a:pt x="67" y="198"/>
                  </a:cubicBezTo>
                  <a:cubicBezTo>
                    <a:pt x="67" y="198"/>
                    <a:pt x="67" y="198"/>
                    <a:pt x="67" y="198"/>
                  </a:cubicBezTo>
                  <a:cubicBezTo>
                    <a:pt x="67" y="198"/>
                    <a:pt x="67" y="198"/>
                    <a:pt x="67" y="198"/>
                  </a:cubicBezTo>
                  <a:cubicBezTo>
                    <a:pt x="67" y="198"/>
                    <a:pt x="67" y="198"/>
                    <a:pt x="67" y="198"/>
                  </a:cubicBezTo>
                  <a:cubicBezTo>
                    <a:pt x="67" y="198"/>
                    <a:pt x="67" y="198"/>
                    <a:pt x="67" y="198"/>
                  </a:cubicBezTo>
                  <a:cubicBezTo>
                    <a:pt x="67" y="198"/>
                    <a:pt x="66" y="198"/>
                    <a:pt x="66" y="198"/>
                  </a:cubicBezTo>
                  <a:cubicBezTo>
                    <a:pt x="66" y="198"/>
                    <a:pt x="66" y="198"/>
                    <a:pt x="66" y="198"/>
                  </a:cubicBezTo>
                  <a:cubicBezTo>
                    <a:pt x="66" y="198"/>
                    <a:pt x="66" y="198"/>
                    <a:pt x="66" y="198"/>
                  </a:cubicBezTo>
                  <a:cubicBezTo>
                    <a:pt x="66" y="198"/>
                    <a:pt x="66" y="198"/>
                    <a:pt x="66" y="198"/>
                  </a:cubicBezTo>
                  <a:cubicBezTo>
                    <a:pt x="66" y="198"/>
                    <a:pt x="66" y="198"/>
                    <a:pt x="66" y="198"/>
                  </a:cubicBezTo>
                  <a:cubicBezTo>
                    <a:pt x="66" y="198"/>
                    <a:pt x="66" y="198"/>
                    <a:pt x="66" y="198"/>
                  </a:cubicBezTo>
                  <a:cubicBezTo>
                    <a:pt x="65" y="198"/>
                    <a:pt x="65" y="198"/>
                    <a:pt x="65" y="198"/>
                  </a:cubicBezTo>
                  <a:cubicBezTo>
                    <a:pt x="65" y="198"/>
                    <a:pt x="65" y="198"/>
                    <a:pt x="65" y="198"/>
                  </a:cubicBezTo>
                  <a:cubicBezTo>
                    <a:pt x="65" y="198"/>
                    <a:pt x="65" y="198"/>
                    <a:pt x="65" y="198"/>
                  </a:cubicBezTo>
                  <a:cubicBezTo>
                    <a:pt x="65" y="198"/>
                    <a:pt x="65" y="198"/>
                    <a:pt x="65" y="198"/>
                  </a:cubicBezTo>
                  <a:cubicBezTo>
                    <a:pt x="64" y="198"/>
                    <a:pt x="64" y="198"/>
                    <a:pt x="64" y="198"/>
                  </a:cubicBezTo>
                  <a:cubicBezTo>
                    <a:pt x="64" y="198"/>
                    <a:pt x="64" y="198"/>
                    <a:pt x="64" y="198"/>
                  </a:cubicBezTo>
                  <a:cubicBezTo>
                    <a:pt x="64" y="198"/>
                    <a:pt x="64" y="198"/>
                    <a:pt x="64" y="198"/>
                  </a:cubicBezTo>
                  <a:cubicBezTo>
                    <a:pt x="64" y="198"/>
                    <a:pt x="64" y="198"/>
                    <a:pt x="64" y="198"/>
                  </a:cubicBezTo>
                  <a:cubicBezTo>
                    <a:pt x="64" y="198"/>
                    <a:pt x="64" y="198"/>
                    <a:pt x="64" y="198"/>
                  </a:cubicBezTo>
                  <a:cubicBezTo>
                    <a:pt x="63" y="198"/>
                    <a:pt x="63" y="198"/>
                    <a:pt x="63" y="198"/>
                  </a:cubicBezTo>
                  <a:cubicBezTo>
                    <a:pt x="38" y="195"/>
                    <a:pt x="16" y="186"/>
                    <a:pt x="0" y="172"/>
                  </a:cubicBezTo>
                  <a:cubicBezTo>
                    <a:pt x="18" y="193"/>
                    <a:pt x="50" y="207"/>
                    <a:pt x="87" y="207"/>
                  </a:cubicBezTo>
                  <a:cubicBezTo>
                    <a:pt x="144" y="207"/>
                    <a:pt x="190" y="174"/>
                    <a:pt x="190" y="133"/>
                  </a:cubicBezTo>
                  <a:cubicBezTo>
                    <a:pt x="190" y="123"/>
                    <a:pt x="188" y="114"/>
                    <a:pt x="183" y="106"/>
                  </a:cubicBezTo>
                  <a:cubicBezTo>
                    <a:pt x="158" y="58"/>
                    <a:pt x="181" y="9"/>
                    <a:pt x="216" y="9"/>
                  </a:cubicBezTo>
                  <a:cubicBezTo>
                    <a:pt x="521" y="9"/>
                    <a:pt x="521" y="9"/>
                    <a:pt x="521" y="9"/>
                  </a:cubicBezTo>
                  <a:cubicBezTo>
                    <a:pt x="521" y="0"/>
                    <a:pt x="521" y="0"/>
                    <a:pt x="521" y="0"/>
                  </a:cubicBezTo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44"/>
            <p:cNvSpPr>
              <a:spLocks/>
            </p:cNvSpPr>
            <p:nvPr/>
          </p:nvSpPr>
          <p:spPr bwMode="auto">
            <a:xfrm>
              <a:off x="9510713" y="5386702"/>
              <a:ext cx="12700" cy="269875"/>
            </a:xfrm>
            <a:custGeom>
              <a:avLst/>
              <a:gdLst>
                <a:gd name="T0" fmla="*/ 0 w 17"/>
                <a:gd name="T1" fmla="*/ 0 h 336"/>
                <a:gd name="T2" fmla="*/ 8 w 17"/>
                <a:gd name="T3" fmla="*/ 20 h 336"/>
                <a:gd name="T4" fmla="*/ 8 w 17"/>
                <a:gd name="T5" fmla="*/ 20 h 336"/>
                <a:gd name="T6" fmla="*/ 8 w 17"/>
                <a:gd name="T7" fmla="*/ 21 h 336"/>
                <a:gd name="T8" fmla="*/ 8 w 17"/>
                <a:gd name="T9" fmla="*/ 21 h 336"/>
                <a:gd name="T10" fmla="*/ 8 w 17"/>
                <a:gd name="T11" fmla="*/ 21 h 336"/>
                <a:gd name="T12" fmla="*/ 8 w 17"/>
                <a:gd name="T13" fmla="*/ 21 h 336"/>
                <a:gd name="T14" fmla="*/ 8 w 17"/>
                <a:gd name="T15" fmla="*/ 21 h 336"/>
                <a:gd name="T16" fmla="*/ 8 w 17"/>
                <a:gd name="T17" fmla="*/ 21 h 336"/>
                <a:gd name="T18" fmla="*/ 8 w 17"/>
                <a:gd name="T19" fmla="*/ 21 h 336"/>
                <a:gd name="T20" fmla="*/ 8 w 17"/>
                <a:gd name="T21" fmla="*/ 22 h 336"/>
                <a:gd name="T22" fmla="*/ 8 w 17"/>
                <a:gd name="T23" fmla="*/ 22 h 336"/>
                <a:gd name="T24" fmla="*/ 8 w 17"/>
                <a:gd name="T25" fmla="*/ 22 h 336"/>
                <a:gd name="T26" fmla="*/ 8 w 17"/>
                <a:gd name="T27" fmla="*/ 336 h 336"/>
                <a:gd name="T28" fmla="*/ 17 w 17"/>
                <a:gd name="T29" fmla="*/ 336 h 336"/>
                <a:gd name="T30" fmla="*/ 17 w 17"/>
                <a:gd name="T31" fmla="*/ 31 h 336"/>
                <a:gd name="T32" fmla="*/ 0 w 17"/>
                <a:gd name="T33" fmla="*/ 0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" h="336">
                  <a:moveTo>
                    <a:pt x="0" y="0"/>
                  </a:moveTo>
                  <a:cubicBezTo>
                    <a:pt x="5" y="6"/>
                    <a:pt x="7" y="13"/>
                    <a:pt x="8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0"/>
                    <a:pt x="8" y="20"/>
                    <a:pt x="8" y="21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21"/>
                    <a:pt x="8" y="22"/>
                    <a:pt x="8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336"/>
                    <a:pt x="8" y="336"/>
                    <a:pt x="8" y="336"/>
                  </a:cubicBezTo>
                  <a:cubicBezTo>
                    <a:pt x="17" y="336"/>
                    <a:pt x="17" y="336"/>
                    <a:pt x="17" y="336"/>
                  </a:cubicBezTo>
                  <a:cubicBezTo>
                    <a:pt x="17" y="31"/>
                    <a:pt x="17" y="31"/>
                    <a:pt x="17" y="31"/>
                  </a:cubicBezTo>
                  <a:cubicBezTo>
                    <a:pt x="17" y="18"/>
                    <a:pt x="11" y="8"/>
                    <a:pt x="0" y="0"/>
                  </a:cubicBezTo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6"/>
            <p:cNvSpPr>
              <a:spLocks/>
            </p:cNvSpPr>
            <p:nvPr/>
          </p:nvSpPr>
          <p:spPr bwMode="auto">
            <a:xfrm>
              <a:off x="10244138" y="5218427"/>
              <a:ext cx="123825" cy="20637"/>
            </a:xfrm>
            <a:custGeom>
              <a:avLst/>
              <a:gdLst>
                <a:gd name="T0" fmla="*/ 107 w 155"/>
                <a:gd name="T1" fmla="*/ 0 h 26"/>
                <a:gd name="T2" fmla="*/ 80 w 155"/>
                <a:gd name="T3" fmla="*/ 6 h 26"/>
                <a:gd name="T4" fmla="*/ 80 w 155"/>
                <a:gd name="T5" fmla="*/ 6 h 26"/>
                <a:gd name="T6" fmla="*/ 39 w 155"/>
                <a:gd name="T7" fmla="*/ 17 h 26"/>
                <a:gd name="T8" fmla="*/ 39 w 155"/>
                <a:gd name="T9" fmla="*/ 17 h 26"/>
                <a:gd name="T10" fmla="*/ 39 w 155"/>
                <a:gd name="T11" fmla="*/ 17 h 26"/>
                <a:gd name="T12" fmla="*/ 0 w 155"/>
                <a:gd name="T13" fmla="*/ 5 h 26"/>
                <a:gd name="T14" fmla="*/ 48 w 155"/>
                <a:gd name="T15" fmla="*/ 26 h 26"/>
                <a:gd name="T16" fmla="*/ 89 w 155"/>
                <a:gd name="T17" fmla="*/ 15 h 26"/>
                <a:gd name="T18" fmla="*/ 116 w 155"/>
                <a:gd name="T19" fmla="*/ 9 h 26"/>
                <a:gd name="T20" fmla="*/ 155 w 155"/>
                <a:gd name="T21" fmla="*/ 24 h 26"/>
                <a:gd name="T22" fmla="*/ 149 w 155"/>
                <a:gd name="T23" fmla="*/ 17 h 26"/>
                <a:gd name="T24" fmla="*/ 109 w 155"/>
                <a:gd name="T25" fmla="*/ 0 h 26"/>
                <a:gd name="T26" fmla="*/ 109 w 155"/>
                <a:gd name="T27" fmla="*/ 0 h 26"/>
                <a:gd name="T28" fmla="*/ 108 w 155"/>
                <a:gd name="T29" fmla="*/ 0 h 26"/>
                <a:gd name="T30" fmla="*/ 108 w 155"/>
                <a:gd name="T31" fmla="*/ 0 h 26"/>
                <a:gd name="T32" fmla="*/ 108 w 155"/>
                <a:gd name="T33" fmla="*/ 0 h 26"/>
                <a:gd name="T34" fmla="*/ 108 w 155"/>
                <a:gd name="T35" fmla="*/ 0 h 26"/>
                <a:gd name="T36" fmla="*/ 108 w 155"/>
                <a:gd name="T37" fmla="*/ 0 h 26"/>
                <a:gd name="T38" fmla="*/ 108 w 155"/>
                <a:gd name="T39" fmla="*/ 0 h 26"/>
                <a:gd name="T40" fmla="*/ 108 w 155"/>
                <a:gd name="T41" fmla="*/ 0 h 26"/>
                <a:gd name="T42" fmla="*/ 108 w 155"/>
                <a:gd name="T43" fmla="*/ 0 h 26"/>
                <a:gd name="T44" fmla="*/ 108 w 155"/>
                <a:gd name="T45" fmla="*/ 0 h 26"/>
                <a:gd name="T46" fmla="*/ 107 w 155"/>
                <a:gd name="T47" fmla="*/ 0 h 26"/>
                <a:gd name="T48" fmla="*/ 107 w 155"/>
                <a:gd name="T49" fmla="*/ 0 h 26"/>
                <a:gd name="T50" fmla="*/ 107 w 155"/>
                <a:gd name="T51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5" h="26">
                  <a:moveTo>
                    <a:pt x="107" y="0"/>
                  </a:moveTo>
                  <a:cubicBezTo>
                    <a:pt x="98" y="0"/>
                    <a:pt x="89" y="2"/>
                    <a:pt x="80" y="6"/>
                  </a:cubicBezTo>
                  <a:cubicBezTo>
                    <a:pt x="80" y="6"/>
                    <a:pt x="80" y="6"/>
                    <a:pt x="80" y="6"/>
                  </a:cubicBezTo>
                  <a:cubicBezTo>
                    <a:pt x="66" y="14"/>
                    <a:pt x="52" y="17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23" y="17"/>
                    <a:pt x="10" y="12"/>
                    <a:pt x="0" y="5"/>
                  </a:cubicBezTo>
                  <a:cubicBezTo>
                    <a:pt x="9" y="18"/>
                    <a:pt x="27" y="26"/>
                    <a:pt x="48" y="26"/>
                  </a:cubicBezTo>
                  <a:cubicBezTo>
                    <a:pt x="61" y="26"/>
                    <a:pt x="75" y="23"/>
                    <a:pt x="89" y="15"/>
                  </a:cubicBezTo>
                  <a:cubicBezTo>
                    <a:pt x="98" y="11"/>
                    <a:pt x="107" y="9"/>
                    <a:pt x="116" y="9"/>
                  </a:cubicBezTo>
                  <a:cubicBezTo>
                    <a:pt x="130" y="9"/>
                    <a:pt x="144" y="14"/>
                    <a:pt x="155" y="24"/>
                  </a:cubicBezTo>
                  <a:cubicBezTo>
                    <a:pt x="153" y="21"/>
                    <a:pt x="151" y="19"/>
                    <a:pt x="149" y="17"/>
                  </a:cubicBezTo>
                  <a:cubicBezTo>
                    <a:pt x="138" y="7"/>
                    <a:pt x="124" y="0"/>
                    <a:pt x="109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0"/>
                    <a:pt x="108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0"/>
                    <a:pt x="107" y="0"/>
                    <a:pt x="107" y="0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7" y="0"/>
                    <a:pt x="107" y="0"/>
                    <a:pt x="107" y="0"/>
                  </a:cubicBezTo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Freeform 48"/>
            <p:cNvSpPr>
              <a:spLocks/>
            </p:cNvSpPr>
            <p:nvPr/>
          </p:nvSpPr>
          <p:spPr bwMode="auto">
            <a:xfrm>
              <a:off x="9356725" y="4943790"/>
              <a:ext cx="438150" cy="427037"/>
            </a:xfrm>
            <a:custGeom>
              <a:avLst/>
              <a:gdLst>
                <a:gd name="T0" fmla="*/ 513 w 544"/>
                <a:gd name="T1" fmla="*/ 0 h 530"/>
                <a:gd name="T2" fmla="*/ 199 w 544"/>
                <a:gd name="T3" fmla="*/ 0 h 530"/>
                <a:gd name="T4" fmla="*/ 199 w 544"/>
                <a:gd name="T5" fmla="*/ 314 h 530"/>
                <a:gd name="T6" fmla="*/ 199 w 544"/>
                <a:gd name="T7" fmla="*/ 314 h 530"/>
                <a:gd name="T8" fmla="*/ 143 w 544"/>
                <a:gd name="T9" fmla="*/ 357 h 530"/>
                <a:gd name="T10" fmla="*/ 101 w 544"/>
                <a:gd name="T11" fmla="*/ 346 h 530"/>
                <a:gd name="T12" fmla="*/ 75 w 544"/>
                <a:gd name="T13" fmla="*/ 340 h 530"/>
                <a:gd name="T14" fmla="*/ 0 w 544"/>
                <a:gd name="T15" fmla="*/ 442 h 530"/>
                <a:gd name="T16" fmla="*/ 0 w 544"/>
                <a:gd name="T17" fmla="*/ 443 h 530"/>
                <a:gd name="T18" fmla="*/ 0 w 544"/>
                <a:gd name="T19" fmla="*/ 443 h 530"/>
                <a:gd name="T20" fmla="*/ 0 w 544"/>
                <a:gd name="T21" fmla="*/ 443 h 530"/>
                <a:gd name="T22" fmla="*/ 0 w 544"/>
                <a:gd name="T23" fmla="*/ 443 h 530"/>
                <a:gd name="T24" fmla="*/ 0 w 544"/>
                <a:gd name="T25" fmla="*/ 443 h 530"/>
                <a:gd name="T26" fmla="*/ 0 w 544"/>
                <a:gd name="T27" fmla="*/ 444 h 530"/>
                <a:gd name="T28" fmla="*/ 0 w 544"/>
                <a:gd name="T29" fmla="*/ 444 h 530"/>
                <a:gd name="T30" fmla="*/ 0 w 544"/>
                <a:gd name="T31" fmla="*/ 444 h 530"/>
                <a:gd name="T32" fmla="*/ 0 w 544"/>
                <a:gd name="T33" fmla="*/ 444 h 530"/>
                <a:gd name="T34" fmla="*/ 0 w 544"/>
                <a:gd name="T35" fmla="*/ 444 h 530"/>
                <a:gd name="T36" fmla="*/ 0 w 544"/>
                <a:gd name="T37" fmla="*/ 445 h 530"/>
                <a:gd name="T38" fmla="*/ 0 w 544"/>
                <a:gd name="T39" fmla="*/ 445 h 530"/>
                <a:gd name="T40" fmla="*/ 0 w 544"/>
                <a:gd name="T41" fmla="*/ 446 h 530"/>
                <a:gd name="T42" fmla="*/ 0 w 544"/>
                <a:gd name="T43" fmla="*/ 446 h 530"/>
                <a:gd name="T44" fmla="*/ 36 w 544"/>
                <a:gd name="T45" fmla="*/ 530 h 530"/>
                <a:gd name="T46" fmla="*/ 9 w 544"/>
                <a:gd name="T47" fmla="*/ 451 h 530"/>
                <a:gd name="T48" fmla="*/ 84 w 544"/>
                <a:gd name="T49" fmla="*/ 349 h 530"/>
                <a:gd name="T50" fmla="*/ 110 w 544"/>
                <a:gd name="T51" fmla="*/ 355 h 530"/>
                <a:gd name="T52" fmla="*/ 152 w 544"/>
                <a:gd name="T53" fmla="*/ 366 h 530"/>
                <a:gd name="T54" fmla="*/ 208 w 544"/>
                <a:gd name="T55" fmla="*/ 323 h 530"/>
                <a:gd name="T56" fmla="*/ 208 w 544"/>
                <a:gd name="T57" fmla="*/ 9 h 530"/>
                <a:gd name="T58" fmla="*/ 522 w 544"/>
                <a:gd name="T59" fmla="*/ 9 h 530"/>
                <a:gd name="T60" fmla="*/ 544 w 544"/>
                <a:gd name="T61" fmla="*/ 16 h 530"/>
                <a:gd name="T62" fmla="*/ 514 w 544"/>
                <a:gd name="T63" fmla="*/ 0 h 530"/>
                <a:gd name="T64" fmla="*/ 514 w 544"/>
                <a:gd name="T65" fmla="*/ 0 h 530"/>
                <a:gd name="T66" fmla="*/ 513 w 544"/>
                <a:gd name="T67" fmla="*/ 0 h 530"/>
                <a:gd name="T68" fmla="*/ 513 w 544"/>
                <a:gd name="T69" fmla="*/ 0 h 530"/>
                <a:gd name="T70" fmla="*/ 513 w 544"/>
                <a:gd name="T71" fmla="*/ 0 h 530"/>
                <a:gd name="T72" fmla="*/ 513 w 544"/>
                <a:gd name="T73" fmla="*/ 0 h 530"/>
                <a:gd name="T74" fmla="*/ 513 w 544"/>
                <a:gd name="T75" fmla="*/ 0 h 530"/>
                <a:gd name="T76" fmla="*/ 513 w 544"/>
                <a:gd name="T7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44" h="530">
                  <a:moveTo>
                    <a:pt x="513" y="0"/>
                  </a:moveTo>
                  <a:cubicBezTo>
                    <a:pt x="199" y="0"/>
                    <a:pt x="199" y="0"/>
                    <a:pt x="199" y="0"/>
                  </a:cubicBezTo>
                  <a:cubicBezTo>
                    <a:pt x="199" y="314"/>
                    <a:pt x="199" y="314"/>
                    <a:pt x="199" y="314"/>
                  </a:cubicBezTo>
                  <a:cubicBezTo>
                    <a:pt x="199" y="314"/>
                    <a:pt x="199" y="314"/>
                    <a:pt x="199" y="314"/>
                  </a:cubicBezTo>
                  <a:cubicBezTo>
                    <a:pt x="199" y="338"/>
                    <a:pt x="174" y="357"/>
                    <a:pt x="143" y="357"/>
                  </a:cubicBezTo>
                  <a:cubicBezTo>
                    <a:pt x="130" y="357"/>
                    <a:pt x="116" y="354"/>
                    <a:pt x="101" y="346"/>
                  </a:cubicBezTo>
                  <a:cubicBezTo>
                    <a:pt x="93" y="342"/>
                    <a:pt x="84" y="340"/>
                    <a:pt x="75" y="340"/>
                  </a:cubicBezTo>
                  <a:cubicBezTo>
                    <a:pt x="33" y="340"/>
                    <a:pt x="0" y="385"/>
                    <a:pt x="0" y="442"/>
                  </a:cubicBezTo>
                  <a:cubicBezTo>
                    <a:pt x="0" y="442"/>
                    <a:pt x="0" y="443"/>
                    <a:pt x="0" y="443"/>
                  </a:cubicBezTo>
                  <a:cubicBezTo>
                    <a:pt x="0" y="443"/>
                    <a:pt x="0" y="443"/>
                    <a:pt x="0" y="443"/>
                  </a:cubicBezTo>
                  <a:cubicBezTo>
                    <a:pt x="0" y="443"/>
                    <a:pt x="0" y="443"/>
                    <a:pt x="0" y="443"/>
                  </a:cubicBezTo>
                  <a:cubicBezTo>
                    <a:pt x="0" y="443"/>
                    <a:pt x="0" y="443"/>
                    <a:pt x="0" y="443"/>
                  </a:cubicBezTo>
                  <a:cubicBezTo>
                    <a:pt x="0" y="443"/>
                    <a:pt x="0" y="443"/>
                    <a:pt x="0" y="443"/>
                  </a:cubicBezTo>
                  <a:cubicBezTo>
                    <a:pt x="0" y="444"/>
                    <a:pt x="0" y="444"/>
                    <a:pt x="0" y="444"/>
                  </a:cubicBezTo>
                  <a:cubicBezTo>
                    <a:pt x="0" y="444"/>
                    <a:pt x="0" y="444"/>
                    <a:pt x="0" y="444"/>
                  </a:cubicBezTo>
                  <a:cubicBezTo>
                    <a:pt x="0" y="444"/>
                    <a:pt x="0" y="444"/>
                    <a:pt x="0" y="444"/>
                  </a:cubicBezTo>
                  <a:cubicBezTo>
                    <a:pt x="0" y="444"/>
                    <a:pt x="0" y="444"/>
                    <a:pt x="0" y="444"/>
                  </a:cubicBezTo>
                  <a:cubicBezTo>
                    <a:pt x="0" y="444"/>
                    <a:pt x="0" y="444"/>
                    <a:pt x="0" y="444"/>
                  </a:cubicBezTo>
                  <a:cubicBezTo>
                    <a:pt x="0" y="445"/>
                    <a:pt x="0" y="445"/>
                    <a:pt x="0" y="445"/>
                  </a:cubicBezTo>
                  <a:cubicBezTo>
                    <a:pt x="0" y="445"/>
                    <a:pt x="0" y="445"/>
                    <a:pt x="0" y="445"/>
                  </a:cubicBezTo>
                  <a:cubicBezTo>
                    <a:pt x="0" y="445"/>
                    <a:pt x="0" y="445"/>
                    <a:pt x="0" y="446"/>
                  </a:cubicBezTo>
                  <a:cubicBezTo>
                    <a:pt x="0" y="446"/>
                    <a:pt x="0" y="446"/>
                    <a:pt x="0" y="446"/>
                  </a:cubicBezTo>
                  <a:cubicBezTo>
                    <a:pt x="1" y="481"/>
                    <a:pt x="15" y="512"/>
                    <a:pt x="36" y="530"/>
                  </a:cubicBezTo>
                  <a:cubicBezTo>
                    <a:pt x="19" y="511"/>
                    <a:pt x="9" y="483"/>
                    <a:pt x="9" y="451"/>
                  </a:cubicBezTo>
                  <a:cubicBezTo>
                    <a:pt x="9" y="395"/>
                    <a:pt x="42" y="349"/>
                    <a:pt x="84" y="349"/>
                  </a:cubicBezTo>
                  <a:cubicBezTo>
                    <a:pt x="93" y="349"/>
                    <a:pt x="102" y="351"/>
                    <a:pt x="110" y="355"/>
                  </a:cubicBezTo>
                  <a:cubicBezTo>
                    <a:pt x="125" y="363"/>
                    <a:pt x="139" y="366"/>
                    <a:pt x="152" y="366"/>
                  </a:cubicBezTo>
                  <a:cubicBezTo>
                    <a:pt x="183" y="366"/>
                    <a:pt x="208" y="347"/>
                    <a:pt x="208" y="323"/>
                  </a:cubicBezTo>
                  <a:cubicBezTo>
                    <a:pt x="208" y="9"/>
                    <a:pt x="208" y="9"/>
                    <a:pt x="208" y="9"/>
                  </a:cubicBezTo>
                  <a:cubicBezTo>
                    <a:pt x="522" y="9"/>
                    <a:pt x="522" y="9"/>
                    <a:pt x="522" y="9"/>
                  </a:cubicBezTo>
                  <a:cubicBezTo>
                    <a:pt x="530" y="9"/>
                    <a:pt x="538" y="11"/>
                    <a:pt x="544" y="16"/>
                  </a:cubicBezTo>
                  <a:cubicBezTo>
                    <a:pt x="536" y="6"/>
                    <a:pt x="526" y="0"/>
                    <a:pt x="514" y="0"/>
                  </a:cubicBezTo>
                  <a:cubicBezTo>
                    <a:pt x="514" y="0"/>
                    <a:pt x="514" y="0"/>
                    <a:pt x="514" y="0"/>
                  </a:cubicBezTo>
                  <a:cubicBezTo>
                    <a:pt x="513" y="0"/>
                    <a:pt x="513" y="0"/>
                    <a:pt x="513" y="0"/>
                  </a:cubicBezTo>
                  <a:cubicBezTo>
                    <a:pt x="513" y="0"/>
                    <a:pt x="513" y="0"/>
                    <a:pt x="513" y="0"/>
                  </a:cubicBezTo>
                  <a:cubicBezTo>
                    <a:pt x="513" y="0"/>
                    <a:pt x="513" y="0"/>
                    <a:pt x="513" y="0"/>
                  </a:cubicBezTo>
                  <a:cubicBezTo>
                    <a:pt x="513" y="0"/>
                    <a:pt x="513" y="0"/>
                    <a:pt x="513" y="0"/>
                  </a:cubicBezTo>
                  <a:cubicBezTo>
                    <a:pt x="513" y="0"/>
                    <a:pt x="513" y="0"/>
                    <a:pt x="513" y="0"/>
                  </a:cubicBezTo>
                  <a:cubicBezTo>
                    <a:pt x="513" y="0"/>
                    <a:pt x="513" y="0"/>
                    <a:pt x="513" y="0"/>
                  </a:cubicBezTo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50"/>
            <p:cNvSpPr>
              <a:spLocks/>
            </p:cNvSpPr>
            <p:nvPr/>
          </p:nvSpPr>
          <p:spPr bwMode="auto">
            <a:xfrm>
              <a:off x="9934575" y="5526402"/>
              <a:ext cx="28575" cy="123825"/>
            </a:xfrm>
            <a:custGeom>
              <a:avLst/>
              <a:gdLst>
                <a:gd name="T0" fmla="*/ 11 w 35"/>
                <a:gd name="T1" fmla="*/ 0 h 155"/>
                <a:gd name="T2" fmla="*/ 26 w 35"/>
                <a:gd name="T3" fmla="*/ 37 h 155"/>
                <a:gd name="T4" fmla="*/ 26 w 35"/>
                <a:gd name="T5" fmla="*/ 37 h 155"/>
                <a:gd name="T6" fmla="*/ 26 w 35"/>
                <a:gd name="T7" fmla="*/ 38 h 155"/>
                <a:gd name="T8" fmla="*/ 26 w 35"/>
                <a:gd name="T9" fmla="*/ 38 h 155"/>
                <a:gd name="T10" fmla="*/ 26 w 35"/>
                <a:gd name="T11" fmla="*/ 38 h 155"/>
                <a:gd name="T12" fmla="*/ 26 w 35"/>
                <a:gd name="T13" fmla="*/ 38 h 155"/>
                <a:gd name="T14" fmla="*/ 26 w 35"/>
                <a:gd name="T15" fmla="*/ 38 h 155"/>
                <a:gd name="T16" fmla="*/ 26 w 35"/>
                <a:gd name="T17" fmla="*/ 38 h 155"/>
                <a:gd name="T18" fmla="*/ 26 w 35"/>
                <a:gd name="T19" fmla="*/ 39 h 155"/>
                <a:gd name="T20" fmla="*/ 26 w 35"/>
                <a:gd name="T21" fmla="*/ 39 h 155"/>
                <a:gd name="T22" fmla="*/ 26 w 35"/>
                <a:gd name="T23" fmla="*/ 39 h 155"/>
                <a:gd name="T24" fmla="*/ 26 w 35"/>
                <a:gd name="T25" fmla="*/ 39 h 155"/>
                <a:gd name="T26" fmla="*/ 19 w 35"/>
                <a:gd name="T27" fmla="*/ 65 h 155"/>
                <a:gd name="T28" fmla="*/ 19 w 35"/>
                <a:gd name="T29" fmla="*/ 66 h 155"/>
                <a:gd name="T30" fmla="*/ 19 w 35"/>
                <a:gd name="T31" fmla="*/ 66 h 155"/>
                <a:gd name="T32" fmla="*/ 19 w 35"/>
                <a:gd name="T33" fmla="*/ 66 h 155"/>
                <a:gd name="T34" fmla="*/ 30 w 35"/>
                <a:gd name="T35" fmla="*/ 155 h 155"/>
                <a:gd name="T36" fmla="*/ 28 w 35"/>
                <a:gd name="T37" fmla="*/ 74 h 155"/>
                <a:gd name="T38" fmla="*/ 35 w 35"/>
                <a:gd name="T39" fmla="*/ 48 h 155"/>
                <a:gd name="T40" fmla="*/ 11 w 35"/>
                <a:gd name="T41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5" h="155">
                  <a:moveTo>
                    <a:pt x="11" y="0"/>
                  </a:moveTo>
                  <a:cubicBezTo>
                    <a:pt x="20" y="11"/>
                    <a:pt x="26" y="23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37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48"/>
                    <a:pt x="24" y="57"/>
                    <a:pt x="19" y="65"/>
                  </a:cubicBezTo>
                  <a:cubicBezTo>
                    <a:pt x="19" y="65"/>
                    <a:pt x="19" y="65"/>
                    <a:pt x="19" y="66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0" y="102"/>
                    <a:pt x="9" y="140"/>
                    <a:pt x="30" y="155"/>
                  </a:cubicBezTo>
                  <a:cubicBezTo>
                    <a:pt x="16" y="137"/>
                    <a:pt x="12" y="105"/>
                    <a:pt x="28" y="74"/>
                  </a:cubicBezTo>
                  <a:cubicBezTo>
                    <a:pt x="33" y="66"/>
                    <a:pt x="35" y="57"/>
                    <a:pt x="35" y="48"/>
                  </a:cubicBezTo>
                  <a:cubicBezTo>
                    <a:pt x="35" y="29"/>
                    <a:pt x="26" y="13"/>
                    <a:pt x="11" y="0"/>
                  </a:cubicBezTo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51"/>
            <p:cNvSpPr>
              <a:spLocks/>
            </p:cNvSpPr>
            <p:nvPr/>
          </p:nvSpPr>
          <p:spPr bwMode="auto">
            <a:xfrm>
              <a:off x="9782175" y="4950140"/>
              <a:ext cx="30163" cy="125412"/>
            </a:xfrm>
            <a:custGeom>
              <a:avLst/>
              <a:gdLst>
                <a:gd name="T0" fmla="*/ 0 w 36"/>
                <a:gd name="T1" fmla="*/ 108 h 156"/>
                <a:gd name="T2" fmla="*/ 25 w 36"/>
                <a:gd name="T3" fmla="*/ 156 h 156"/>
                <a:gd name="T4" fmla="*/ 10 w 36"/>
                <a:gd name="T5" fmla="*/ 117 h 156"/>
                <a:gd name="T6" fmla="*/ 16 w 36"/>
                <a:gd name="T7" fmla="*/ 90 h 156"/>
                <a:gd name="T8" fmla="*/ 6 w 36"/>
                <a:gd name="T9" fmla="*/ 0 h 156"/>
                <a:gd name="T10" fmla="*/ 7 w 36"/>
                <a:gd name="T11" fmla="*/ 81 h 156"/>
                <a:gd name="T12" fmla="*/ 0 w 36"/>
                <a:gd name="T13" fmla="*/ 108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56">
                  <a:moveTo>
                    <a:pt x="0" y="108"/>
                  </a:moveTo>
                  <a:cubicBezTo>
                    <a:pt x="0" y="126"/>
                    <a:pt x="10" y="143"/>
                    <a:pt x="25" y="156"/>
                  </a:cubicBezTo>
                  <a:cubicBezTo>
                    <a:pt x="15" y="144"/>
                    <a:pt x="10" y="131"/>
                    <a:pt x="10" y="117"/>
                  </a:cubicBezTo>
                  <a:cubicBezTo>
                    <a:pt x="10" y="107"/>
                    <a:pt x="12" y="98"/>
                    <a:pt x="16" y="90"/>
                  </a:cubicBezTo>
                  <a:cubicBezTo>
                    <a:pt x="36" y="53"/>
                    <a:pt x="27" y="16"/>
                    <a:pt x="6" y="0"/>
                  </a:cubicBezTo>
                  <a:cubicBezTo>
                    <a:pt x="20" y="19"/>
                    <a:pt x="23" y="50"/>
                    <a:pt x="7" y="81"/>
                  </a:cubicBezTo>
                  <a:cubicBezTo>
                    <a:pt x="3" y="89"/>
                    <a:pt x="0" y="98"/>
                    <a:pt x="0" y="108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52"/>
            <p:cNvSpPr>
              <a:spLocks/>
            </p:cNvSpPr>
            <p:nvPr/>
          </p:nvSpPr>
          <p:spPr bwMode="auto">
            <a:xfrm>
              <a:off x="9517063" y="5489890"/>
              <a:ext cx="419100" cy="166687"/>
            </a:xfrm>
            <a:custGeom>
              <a:avLst/>
              <a:gdLst>
                <a:gd name="T0" fmla="*/ 433 w 521"/>
                <a:gd name="T1" fmla="*/ 0 h 208"/>
                <a:gd name="T2" fmla="*/ 330 w 521"/>
                <a:gd name="T3" fmla="*/ 74 h 208"/>
                <a:gd name="T4" fmla="*/ 337 w 521"/>
                <a:gd name="T5" fmla="*/ 101 h 208"/>
                <a:gd name="T6" fmla="*/ 304 w 521"/>
                <a:gd name="T7" fmla="*/ 199 h 208"/>
                <a:gd name="T8" fmla="*/ 0 w 521"/>
                <a:gd name="T9" fmla="*/ 199 h 208"/>
                <a:gd name="T10" fmla="*/ 0 w 521"/>
                <a:gd name="T11" fmla="*/ 208 h 208"/>
                <a:gd name="T12" fmla="*/ 314 w 521"/>
                <a:gd name="T13" fmla="*/ 208 h 208"/>
                <a:gd name="T14" fmla="*/ 346 w 521"/>
                <a:gd name="T15" fmla="*/ 110 h 208"/>
                <a:gd name="T16" fmla="*/ 340 w 521"/>
                <a:gd name="T17" fmla="*/ 84 h 208"/>
                <a:gd name="T18" fmla="*/ 442 w 521"/>
                <a:gd name="T19" fmla="*/ 9 h 208"/>
                <a:gd name="T20" fmla="*/ 521 w 521"/>
                <a:gd name="T21" fmla="*/ 35 h 208"/>
                <a:gd name="T22" fmla="*/ 433 w 521"/>
                <a:gd name="T23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21" h="208">
                  <a:moveTo>
                    <a:pt x="433" y="0"/>
                  </a:moveTo>
                  <a:cubicBezTo>
                    <a:pt x="376" y="0"/>
                    <a:pt x="330" y="33"/>
                    <a:pt x="330" y="74"/>
                  </a:cubicBezTo>
                  <a:cubicBezTo>
                    <a:pt x="330" y="84"/>
                    <a:pt x="333" y="93"/>
                    <a:pt x="337" y="101"/>
                  </a:cubicBezTo>
                  <a:cubicBezTo>
                    <a:pt x="362" y="149"/>
                    <a:pt x="340" y="199"/>
                    <a:pt x="304" y="199"/>
                  </a:cubicBezTo>
                  <a:cubicBezTo>
                    <a:pt x="0" y="199"/>
                    <a:pt x="0" y="199"/>
                    <a:pt x="0" y="199"/>
                  </a:cubicBezTo>
                  <a:cubicBezTo>
                    <a:pt x="0" y="208"/>
                    <a:pt x="0" y="208"/>
                    <a:pt x="0" y="208"/>
                  </a:cubicBezTo>
                  <a:cubicBezTo>
                    <a:pt x="314" y="208"/>
                    <a:pt x="314" y="208"/>
                    <a:pt x="314" y="208"/>
                  </a:cubicBezTo>
                  <a:cubicBezTo>
                    <a:pt x="349" y="208"/>
                    <a:pt x="372" y="158"/>
                    <a:pt x="346" y="110"/>
                  </a:cubicBezTo>
                  <a:cubicBezTo>
                    <a:pt x="342" y="102"/>
                    <a:pt x="340" y="93"/>
                    <a:pt x="340" y="84"/>
                  </a:cubicBezTo>
                  <a:cubicBezTo>
                    <a:pt x="340" y="42"/>
                    <a:pt x="386" y="9"/>
                    <a:pt x="442" y="9"/>
                  </a:cubicBezTo>
                  <a:cubicBezTo>
                    <a:pt x="474" y="9"/>
                    <a:pt x="502" y="19"/>
                    <a:pt x="521" y="35"/>
                  </a:cubicBezTo>
                  <a:cubicBezTo>
                    <a:pt x="503" y="14"/>
                    <a:pt x="470" y="0"/>
                    <a:pt x="433" y="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53"/>
            <p:cNvSpPr>
              <a:spLocks/>
            </p:cNvSpPr>
            <p:nvPr/>
          </p:nvSpPr>
          <p:spPr bwMode="auto">
            <a:xfrm>
              <a:off x="9377363" y="5354952"/>
              <a:ext cx="125413" cy="28575"/>
            </a:xfrm>
            <a:custGeom>
              <a:avLst/>
              <a:gdLst>
                <a:gd name="T0" fmla="*/ 66 w 156"/>
                <a:gd name="T1" fmla="*/ 19 h 35"/>
                <a:gd name="T2" fmla="*/ 39 w 156"/>
                <a:gd name="T3" fmla="*/ 26 h 35"/>
                <a:gd name="T4" fmla="*/ 0 w 156"/>
                <a:gd name="T5" fmla="*/ 11 h 35"/>
                <a:gd name="T6" fmla="*/ 49 w 156"/>
                <a:gd name="T7" fmla="*/ 35 h 35"/>
                <a:gd name="T8" fmla="*/ 75 w 156"/>
                <a:gd name="T9" fmla="*/ 28 h 35"/>
                <a:gd name="T10" fmla="*/ 156 w 156"/>
                <a:gd name="T11" fmla="*/ 29 h 35"/>
                <a:gd name="T12" fmla="*/ 66 w 156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35">
                  <a:moveTo>
                    <a:pt x="66" y="19"/>
                  </a:moveTo>
                  <a:cubicBezTo>
                    <a:pt x="58" y="23"/>
                    <a:pt x="49" y="26"/>
                    <a:pt x="39" y="26"/>
                  </a:cubicBezTo>
                  <a:cubicBezTo>
                    <a:pt x="25" y="26"/>
                    <a:pt x="12" y="20"/>
                    <a:pt x="0" y="11"/>
                  </a:cubicBezTo>
                  <a:cubicBezTo>
                    <a:pt x="13" y="26"/>
                    <a:pt x="30" y="35"/>
                    <a:pt x="49" y="35"/>
                  </a:cubicBezTo>
                  <a:cubicBezTo>
                    <a:pt x="58" y="35"/>
                    <a:pt x="67" y="33"/>
                    <a:pt x="75" y="28"/>
                  </a:cubicBezTo>
                  <a:cubicBezTo>
                    <a:pt x="106" y="12"/>
                    <a:pt x="138" y="16"/>
                    <a:pt x="156" y="29"/>
                  </a:cubicBezTo>
                  <a:cubicBezTo>
                    <a:pt x="141" y="8"/>
                    <a:pt x="103" y="0"/>
                    <a:pt x="66" y="19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54"/>
            <p:cNvSpPr>
              <a:spLocks/>
            </p:cNvSpPr>
            <p:nvPr/>
          </p:nvSpPr>
          <p:spPr bwMode="auto">
            <a:xfrm>
              <a:off x="9952038" y="5229540"/>
              <a:ext cx="438150" cy="427037"/>
            </a:xfrm>
            <a:custGeom>
              <a:avLst/>
              <a:gdLst>
                <a:gd name="T0" fmla="*/ 508 w 544"/>
                <a:gd name="T1" fmla="*/ 0 h 530"/>
                <a:gd name="T2" fmla="*/ 534 w 544"/>
                <a:gd name="T3" fmla="*/ 78 h 530"/>
                <a:gd name="T4" fmla="*/ 460 w 544"/>
                <a:gd name="T5" fmla="*/ 181 h 530"/>
                <a:gd name="T6" fmla="*/ 433 w 544"/>
                <a:gd name="T7" fmla="*/ 174 h 530"/>
                <a:gd name="T8" fmla="*/ 336 w 544"/>
                <a:gd name="T9" fmla="*/ 207 h 530"/>
                <a:gd name="T10" fmla="*/ 336 w 544"/>
                <a:gd name="T11" fmla="*/ 521 h 530"/>
                <a:gd name="T12" fmla="*/ 22 w 544"/>
                <a:gd name="T13" fmla="*/ 521 h 530"/>
                <a:gd name="T14" fmla="*/ 0 w 544"/>
                <a:gd name="T15" fmla="*/ 513 h 530"/>
                <a:gd name="T16" fmla="*/ 31 w 544"/>
                <a:gd name="T17" fmla="*/ 530 h 530"/>
                <a:gd name="T18" fmla="*/ 345 w 544"/>
                <a:gd name="T19" fmla="*/ 530 h 530"/>
                <a:gd name="T20" fmla="*/ 345 w 544"/>
                <a:gd name="T21" fmla="*/ 216 h 530"/>
                <a:gd name="T22" fmla="*/ 442 w 544"/>
                <a:gd name="T23" fmla="*/ 183 h 530"/>
                <a:gd name="T24" fmla="*/ 469 w 544"/>
                <a:gd name="T25" fmla="*/ 190 h 530"/>
                <a:gd name="T26" fmla="*/ 544 w 544"/>
                <a:gd name="T27" fmla="*/ 87 h 530"/>
                <a:gd name="T28" fmla="*/ 508 w 544"/>
                <a:gd name="T29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44" h="530">
                  <a:moveTo>
                    <a:pt x="508" y="0"/>
                  </a:moveTo>
                  <a:cubicBezTo>
                    <a:pt x="524" y="18"/>
                    <a:pt x="534" y="47"/>
                    <a:pt x="534" y="78"/>
                  </a:cubicBezTo>
                  <a:cubicBezTo>
                    <a:pt x="534" y="135"/>
                    <a:pt x="501" y="181"/>
                    <a:pt x="460" y="181"/>
                  </a:cubicBezTo>
                  <a:cubicBezTo>
                    <a:pt x="450" y="181"/>
                    <a:pt x="441" y="178"/>
                    <a:pt x="433" y="174"/>
                  </a:cubicBezTo>
                  <a:cubicBezTo>
                    <a:pt x="385" y="149"/>
                    <a:pt x="336" y="171"/>
                    <a:pt x="336" y="207"/>
                  </a:cubicBezTo>
                  <a:cubicBezTo>
                    <a:pt x="336" y="521"/>
                    <a:pt x="336" y="521"/>
                    <a:pt x="336" y="521"/>
                  </a:cubicBezTo>
                  <a:cubicBezTo>
                    <a:pt x="22" y="521"/>
                    <a:pt x="22" y="521"/>
                    <a:pt x="22" y="521"/>
                  </a:cubicBezTo>
                  <a:cubicBezTo>
                    <a:pt x="14" y="521"/>
                    <a:pt x="6" y="518"/>
                    <a:pt x="0" y="513"/>
                  </a:cubicBezTo>
                  <a:cubicBezTo>
                    <a:pt x="7" y="523"/>
                    <a:pt x="18" y="530"/>
                    <a:pt x="31" y="530"/>
                  </a:cubicBezTo>
                  <a:cubicBezTo>
                    <a:pt x="345" y="530"/>
                    <a:pt x="345" y="530"/>
                    <a:pt x="345" y="530"/>
                  </a:cubicBezTo>
                  <a:cubicBezTo>
                    <a:pt x="345" y="216"/>
                    <a:pt x="345" y="216"/>
                    <a:pt x="345" y="216"/>
                  </a:cubicBezTo>
                  <a:cubicBezTo>
                    <a:pt x="345" y="181"/>
                    <a:pt x="394" y="158"/>
                    <a:pt x="442" y="183"/>
                  </a:cubicBezTo>
                  <a:cubicBezTo>
                    <a:pt x="451" y="188"/>
                    <a:pt x="460" y="190"/>
                    <a:pt x="469" y="190"/>
                  </a:cubicBezTo>
                  <a:cubicBezTo>
                    <a:pt x="510" y="190"/>
                    <a:pt x="544" y="144"/>
                    <a:pt x="544" y="87"/>
                  </a:cubicBezTo>
                  <a:cubicBezTo>
                    <a:pt x="544" y="50"/>
                    <a:pt x="529" y="18"/>
                    <a:pt x="508" y="0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55"/>
            <p:cNvSpPr>
              <a:spLocks/>
            </p:cNvSpPr>
            <p:nvPr/>
          </p:nvSpPr>
          <p:spPr bwMode="auto">
            <a:xfrm>
              <a:off x="10223500" y="4943790"/>
              <a:ext cx="12700" cy="271462"/>
            </a:xfrm>
            <a:custGeom>
              <a:avLst/>
              <a:gdLst>
                <a:gd name="T0" fmla="*/ 16 w 16"/>
                <a:gd name="T1" fmla="*/ 336 h 336"/>
                <a:gd name="T2" fmla="*/ 9 w 16"/>
                <a:gd name="T3" fmla="*/ 314 h 336"/>
                <a:gd name="T4" fmla="*/ 9 w 16"/>
                <a:gd name="T5" fmla="*/ 0 h 336"/>
                <a:gd name="T6" fmla="*/ 0 w 16"/>
                <a:gd name="T7" fmla="*/ 0 h 336"/>
                <a:gd name="T8" fmla="*/ 0 w 16"/>
                <a:gd name="T9" fmla="*/ 304 h 336"/>
                <a:gd name="T10" fmla="*/ 16 w 16"/>
                <a:gd name="T11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336">
                  <a:moveTo>
                    <a:pt x="16" y="336"/>
                  </a:moveTo>
                  <a:cubicBezTo>
                    <a:pt x="12" y="329"/>
                    <a:pt x="9" y="322"/>
                    <a:pt x="9" y="314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04"/>
                    <a:pt x="0" y="304"/>
                    <a:pt x="0" y="304"/>
                  </a:cubicBezTo>
                  <a:cubicBezTo>
                    <a:pt x="0" y="317"/>
                    <a:pt x="6" y="328"/>
                    <a:pt x="16" y="336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92" name="Group 13"/>
          <p:cNvGrpSpPr/>
          <p:nvPr/>
        </p:nvGrpSpPr>
        <p:grpSpPr>
          <a:xfrm>
            <a:off x="8118713" y="4536861"/>
            <a:ext cx="753168" cy="1093686"/>
            <a:chOff x="8375650" y="4783452"/>
            <a:chExt cx="712788" cy="1035050"/>
          </a:xfrm>
        </p:grpSpPr>
        <p:sp>
          <p:nvSpPr>
            <p:cNvPr id="193" name="Freeform 75"/>
            <p:cNvSpPr>
              <a:spLocks/>
            </p:cNvSpPr>
            <p:nvPr/>
          </p:nvSpPr>
          <p:spPr bwMode="auto">
            <a:xfrm>
              <a:off x="8375650" y="4783452"/>
              <a:ext cx="712788" cy="1035050"/>
            </a:xfrm>
            <a:custGeom>
              <a:avLst/>
              <a:gdLst>
                <a:gd name="T0" fmla="*/ 340 w 885"/>
                <a:gd name="T1" fmla="*/ 75 h 1283"/>
                <a:gd name="T2" fmla="*/ 346 w 885"/>
                <a:gd name="T3" fmla="*/ 101 h 1283"/>
                <a:gd name="T4" fmla="*/ 314 w 885"/>
                <a:gd name="T5" fmla="*/ 199 h 1283"/>
                <a:gd name="T6" fmla="*/ 0 w 885"/>
                <a:gd name="T7" fmla="*/ 199 h 1283"/>
                <a:gd name="T8" fmla="*/ 0 w 885"/>
                <a:gd name="T9" fmla="*/ 513 h 1283"/>
                <a:gd name="T10" fmla="*/ 97 w 885"/>
                <a:gd name="T11" fmla="*/ 546 h 1283"/>
                <a:gd name="T12" fmla="*/ 124 w 885"/>
                <a:gd name="T13" fmla="*/ 539 h 1283"/>
                <a:gd name="T14" fmla="*/ 198 w 885"/>
                <a:gd name="T15" fmla="*/ 642 h 1283"/>
                <a:gd name="T16" fmla="*/ 124 w 885"/>
                <a:gd name="T17" fmla="*/ 744 h 1283"/>
                <a:gd name="T18" fmla="*/ 97 w 885"/>
                <a:gd name="T19" fmla="*/ 737 h 1283"/>
                <a:gd name="T20" fmla="*/ 0 w 885"/>
                <a:gd name="T21" fmla="*/ 770 h 1283"/>
                <a:gd name="T22" fmla="*/ 0 w 885"/>
                <a:gd name="T23" fmla="*/ 1084 h 1283"/>
                <a:gd name="T24" fmla="*/ 314 w 885"/>
                <a:gd name="T25" fmla="*/ 1084 h 1283"/>
                <a:gd name="T26" fmla="*/ 346 w 885"/>
                <a:gd name="T27" fmla="*/ 1182 h 1283"/>
                <a:gd name="T28" fmla="*/ 340 w 885"/>
                <a:gd name="T29" fmla="*/ 1208 h 1283"/>
                <a:gd name="T30" fmla="*/ 442 w 885"/>
                <a:gd name="T31" fmla="*/ 1283 h 1283"/>
                <a:gd name="T32" fmla="*/ 545 w 885"/>
                <a:gd name="T33" fmla="*/ 1208 h 1283"/>
                <a:gd name="T34" fmla="*/ 538 w 885"/>
                <a:gd name="T35" fmla="*/ 1182 h 1283"/>
                <a:gd name="T36" fmla="*/ 571 w 885"/>
                <a:gd name="T37" fmla="*/ 1084 h 1283"/>
                <a:gd name="T38" fmla="*/ 885 w 885"/>
                <a:gd name="T39" fmla="*/ 1084 h 1283"/>
                <a:gd name="T40" fmla="*/ 885 w 885"/>
                <a:gd name="T41" fmla="*/ 770 h 1283"/>
                <a:gd name="T42" fmla="*/ 787 w 885"/>
                <a:gd name="T43" fmla="*/ 737 h 1283"/>
                <a:gd name="T44" fmla="*/ 761 w 885"/>
                <a:gd name="T45" fmla="*/ 744 h 1283"/>
                <a:gd name="T46" fmla="*/ 686 w 885"/>
                <a:gd name="T47" fmla="*/ 642 h 1283"/>
                <a:gd name="T48" fmla="*/ 761 w 885"/>
                <a:gd name="T49" fmla="*/ 539 h 1283"/>
                <a:gd name="T50" fmla="*/ 787 w 885"/>
                <a:gd name="T51" fmla="*/ 546 h 1283"/>
                <a:gd name="T52" fmla="*/ 885 w 885"/>
                <a:gd name="T53" fmla="*/ 513 h 1283"/>
                <a:gd name="T54" fmla="*/ 885 w 885"/>
                <a:gd name="T55" fmla="*/ 199 h 1283"/>
                <a:gd name="T56" fmla="*/ 571 w 885"/>
                <a:gd name="T57" fmla="*/ 199 h 1283"/>
                <a:gd name="T58" fmla="*/ 538 w 885"/>
                <a:gd name="T59" fmla="*/ 101 h 1283"/>
                <a:gd name="T60" fmla="*/ 545 w 885"/>
                <a:gd name="T61" fmla="*/ 75 h 1283"/>
                <a:gd name="T62" fmla="*/ 442 w 885"/>
                <a:gd name="T63" fmla="*/ 0 h 1283"/>
                <a:gd name="T64" fmla="*/ 340 w 885"/>
                <a:gd name="T65" fmla="*/ 75 h 1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85" h="1283">
                  <a:moveTo>
                    <a:pt x="340" y="75"/>
                  </a:moveTo>
                  <a:cubicBezTo>
                    <a:pt x="340" y="84"/>
                    <a:pt x="342" y="93"/>
                    <a:pt x="346" y="101"/>
                  </a:cubicBezTo>
                  <a:cubicBezTo>
                    <a:pt x="372" y="150"/>
                    <a:pt x="349" y="199"/>
                    <a:pt x="314" y="199"/>
                  </a:cubicBezTo>
                  <a:cubicBezTo>
                    <a:pt x="0" y="199"/>
                    <a:pt x="0" y="199"/>
                    <a:pt x="0" y="199"/>
                  </a:cubicBezTo>
                  <a:cubicBezTo>
                    <a:pt x="0" y="513"/>
                    <a:pt x="0" y="513"/>
                    <a:pt x="0" y="513"/>
                  </a:cubicBezTo>
                  <a:cubicBezTo>
                    <a:pt x="0" y="548"/>
                    <a:pt x="49" y="571"/>
                    <a:pt x="97" y="546"/>
                  </a:cubicBezTo>
                  <a:cubicBezTo>
                    <a:pt x="105" y="541"/>
                    <a:pt x="114" y="539"/>
                    <a:pt x="124" y="539"/>
                  </a:cubicBezTo>
                  <a:cubicBezTo>
                    <a:pt x="165" y="539"/>
                    <a:pt x="198" y="585"/>
                    <a:pt x="198" y="642"/>
                  </a:cubicBezTo>
                  <a:cubicBezTo>
                    <a:pt x="198" y="698"/>
                    <a:pt x="165" y="744"/>
                    <a:pt x="124" y="744"/>
                  </a:cubicBezTo>
                  <a:cubicBezTo>
                    <a:pt x="114" y="744"/>
                    <a:pt x="105" y="742"/>
                    <a:pt x="97" y="737"/>
                  </a:cubicBezTo>
                  <a:cubicBezTo>
                    <a:pt x="49" y="712"/>
                    <a:pt x="0" y="735"/>
                    <a:pt x="0" y="770"/>
                  </a:cubicBezTo>
                  <a:cubicBezTo>
                    <a:pt x="0" y="1084"/>
                    <a:pt x="0" y="1084"/>
                    <a:pt x="0" y="1084"/>
                  </a:cubicBezTo>
                  <a:cubicBezTo>
                    <a:pt x="314" y="1084"/>
                    <a:pt x="314" y="1084"/>
                    <a:pt x="314" y="1084"/>
                  </a:cubicBezTo>
                  <a:cubicBezTo>
                    <a:pt x="349" y="1084"/>
                    <a:pt x="372" y="1133"/>
                    <a:pt x="346" y="1182"/>
                  </a:cubicBezTo>
                  <a:cubicBezTo>
                    <a:pt x="342" y="1190"/>
                    <a:pt x="340" y="1199"/>
                    <a:pt x="340" y="1208"/>
                  </a:cubicBezTo>
                  <a:cubicBezTo>
                    <a:pt x="340" y="1249"/>
                    <a:pt x="386" y="1283"/>
                    <a:pt x="442" y="1283"/>
                  </a:cubicBezTo>
                  <a:cubicBezTo>
                    <a:pt x="499" y="1283"/>
                    <a:pt x="545" y="1249"/>
                    <a:pt x="545" y="1208"/>
                  </a:cubicBezTo>
                  <a:cubicBezTo>
                    <a:pt x="545" y="1199"/>
                    <a:pt x="543" y="1190"/>
                    <a:pt x="538" y="1182"/>
                  </a:cubicBezTo>
                  <a:cubicBezTo>
                    <a:pt x="513" y="1133"/>
                    <a:pt x="536" y="1084"/>
                    <a:pt x="571" y="1084"/>
                  </a:cubicBezTo>
                  <a:cubicBezTo>
                    <a:pt x="885" y="1084"/>
                    <a:pt x="885" y="1084"/>
                    <a:pt x="885" y="1084"/>
                  </a:cubicBezTo>
                  <a:cubicBezTo>
                    <a:pt x="885" y="770"/>
                    <a:pt x="885" y="770"/>
                    <a:pt x="885" y="770"/>
                  </a:cubicBezTo>
                  <a:cubicBezTo>
                    <a:pt x="885" y="735"/>
                    <a:pt x="835" y="712"/>
                    <a:pt x="787" y="737"/>
                  </a:cubicBezTo>
                  <a:cubicBezTo>
                    <a:pt x="779" y="742"/>
                    <a:pt x="770" y="744"/>
                    <a:pt x="761" y="744"/>
                  </a:cubicBezTo>
                  <a:cubicBezTo>
                    <a:pt x="719" y="744"/>
                    <a:pt x="686" y="698"/>
                    <a:pt x="686" y="642"/>
                  </a:cubicBezTo>
                  <a:cubicBezTo>
                    <a:pt x="686" y="585"/>
                    <a:pt x="719" y="539"/>
                    <a:pt x="761" y="539"/>
                  </a:cubicBezTo>
                  <a:cubicBezTo>
                    <a:pt x="770" y="539"/>
                    <a:pt x="779" y="541"/>
                    <a:pt x="787" y="546"/>
                  </a:cubicBezTo>
                  <a:cubicBezTo>
                    <a:pt x="835" y="571"/>
                    <a:pt x="885" y="548"/>
                    <a:pt x="885" y="513"/>
                  </a:cubicBezTo>
                  <a:cubicBezTo>
                    <a:pt x="885" y="199"/>
                    <a:pt x="885" y="199"/>
                    <a:pt x="885" y="199"/>
                  </a:cubicBezTo>
                  <a:cubicBezTo>
                    <a:pt x="571" y="199"/>
                    <a:pt x="571" y="199"/>
                    <a:pt x="571" y="199"/>
                  </a:cubicBezTo>
                  <a:cubicBezTo>
                    <a:pt x="536" y="199"/>
                    <a:pt x="513" y="150"/>
                    <a:pt x="538" y="101"/>
                  </a:cubicBezTo>
                  <a:cubicBezTo>
                    <a:pt x="543" y="93"/>
                    <a:pt x="545" y="84"/>
                    <a:pt x="545" y="75"/>
                  </a:cubicBezTo>
                  <a:cubicBezTo>
                    <a:pt x="545" y="34"/>
                    <a:pt x="499" y="0"/>
                    <a:pt x="442" y="0"/>
                  </a:cubicBezTo>
                  <a:cubicBezTo>
                    <a:pt x="386" y="0"/>
                    <a:pt x="340" y="34"/>
                    <a:pt x="340" y="75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77"/>
            <p:cNvSpPr>
              <a:spLocks/>
            </p:cNvSpPr>
            <p:nvPr/>
          </p:nvSpPr>
          <p:spPr bwMode="auto">
            <a:xfrm>
              <a:off x="8650288" y="5672452"/>
              <a:ext cx="26988" cy="123825"/>
            </a:xfrm>
            <a:custGeom>
              <a:avLst/>
              <a:gdLst>
                <a:gd name="T0" fmla="*/ 5 w 35"/>
                <a:gd name="T1" fmla="*/ 0 h 155"/>
                <a:gd name="T2" fmla="*/ 15 w 35"/>
                <a:gd name="T3" fmla="*/ 56 h 155"/>
                <a:gd name="T4" fmla="*/ 15 w 35"/>
                <a:gd name="T5" fmla="*/ 56 h 155"/>
                <a:gd name="T6" fmla="*/ 15 w 35"/>
                <a:gd name="T7" fmla="*/ 56 h 155"/>
                <a:gd name="T8" fmla="*/ 6 w 35"/>
                <a:gd name="T9" fmla="*/ 81 h 155"/>
                <a:gd name="T10" fmla="*/ 6 w 35"/>
                <a:gd name="T11" fmla="*/ 81 h 155"/>
                <a:gd name="T12" fmla="*/ 0 w 35"/>
                <a:gd name="T13" fmla="*/ 107 h 155"/>
                <a:gd name="T14" fmla="*/ 0 w 35"/>
                <a:gd name="T15" fmla="*/ 107 h 155"/>
                <a:gd name="T16" fmla="*/ 0 w 35"/>
                <a:gd name="T17" fmla="*/ 108 h 155"/>
                <a:gd name="T18" fmla="*/ 0 w 35"/>
                <a:gd name="T19" fmla="*/ 108 h 155"/>
                <a:gd name="T20" fmla="*/ 0 w 35"/>
                <a:gd name="T21" fmla="*/ 108 h 155"/>
                <a:gd name="T22" fmla="*/ 0 w 35"/>
                <a:gd name="T23" fmla="*/ 108 h 155"/>
                <a:gd name="T24" fmla="*/ 0 w 35"/>
                <a:gd name="T25" fmla="*/ 108 h 155"/>
                <a:gd name="T26" fmla="*/ 0 w 35"/>
                <a:gd name="T27" fmla="*/ 108 h 155"/>
                <a:gd name="T28" fmla="*/ 0 w 35"/>
                <a:gd name="T29" fmla="*/ 108 h 155"/>
                <a:gd name="T30" fmla="*/ 0 w 35"/>
                <a:gd name="T31" fmla="*/ 108 h 155"/>
                <a:gd name="T32" fmla="*/ 0 w 35"/>
                <a:gd name="T33" fmla="*/ 108 h 155"/>
                <a:gd name="T34" fmla="*/ 0 w 35"/>
                <a:gd name="T35" fmla="*/ 109 h 155"/>
                <a:gd name="T36" fmla="*/ 0 w 35"/>
                <a:gd name="T37" fmla="*/ 109 h 155"/>
                <a:gd name="T38" fmla="*/ 0 w 35"/>
                <a:gd name="T39" fmla="*/ 109 h 155"/>
                <a:gd name="T40" fmla="*/ 0 w 35"/>
                <a:gd name="T41" fmla="*/ 109 h 155"/>
                <a:gd name="T42" fmla="*/ 0 w 35"/>
                <a:gd name="T43" fmla="*/ 109 h 155"/>
                <a:gd name="T44" fmla="*/ 0 w 35"/>
                <a:gd name="T45" fmla="*/ 109 h 155"/>
                <a:gd name="T46" fmla="*/ 0 w 35"/>
                <a:gd name="T47" fmla="*/ 109 h 155"/>
                <a:gd name="T48" fmla="*/ 0 w 35"/>
                <a:gd name="T49" fmla="*/ 109 h 155"/>
                <a:gd name="T50" fmla="*/ 0 w 35"/>
                <a:gd name="T51" fmla="*/ 110 h 155"/>
                <a:gd name="T52" fmla="*/ 0 w 35"/>
                <a:gd name="T53" fmla="*/ 110 h 155"/>
                <a:gd name="T54" fmla="*/ 0 w 35"/>
                <a:gd name="T55" fmla="*/ 110 h 155"/>
                <a:gd name="T56" fmla="*/ 0 w 35"/>
                <a:gd name="T57" fmla="*/ 110 h 155"/>
                <a:gd name="T58" fmla="*/ 0 w 35"/>
                <a:gd name="T59" fmla="*/ 110 h 155"/>
                <a:gd name="T60" fmla="*/ 0 w 35"/>
                <a:gd name="T61" fmla="*/ 110 h 155"/>
                <a:gd name="T62" fmla="*/ 0 w 35"/>
                <a:gd name="T63" fmla="*/ 110 h 155"/>
                <a:gd name="T64" fmla="*/ 0 w 35"/>
                <a:gd name="T65" fmla="*/ 110 h 155"/>
                <a:gd name="T66" fmla="*/ 0 w 35"/>
                <a:gd name="T67" fmla="*/ 110 h 155"/>
                <a:gd name="T68" fmla="*/ 0 w 35"/>
                <a:gd name="T69" fmla="*/ 111 h 155"/>
                <a:gd name="T70" fmla="*/ 0 w 35"/>
                <a:gd name="T71" fmla="*/ 111 h 155"/>
                <a:gd name="T72" fmla="*/ 0 w 35"/>
                <a:gd name="T73" fmla="*/ 111 h 155"/>
                <a:gd name="T74" fmla="*/ 0 w 35"/>
                <a:gd name="T75" fmla="*/ 111 h 155"/>
                <a:gd name="T76" fmla="*/ 0 w 35"/>
                <a:gd name="T77" fmla="*/ 111 h 155"/>
                <a:gd name="T78" fmla="*/ 0 w 35"/>
                <a:gd name="T79" fmla="*/ 112 h 155"/>
                <a:gd name="T80" fmla="*/ 0 w 35"/>
                <a:gd name="T81" fmla="*/ 112 h 155"/>
                <a:gd name="T82" fmla="*/ 0 w 35"/>
                <a:gd name="T83" fmla="*/ 112 h 155"/>
                <a:gd name="T84" fmla="*/ 0 w 35"/>
                <a:gd name="T85" fmla="*/ 112 h 155"/>
                <a:gd name="T86" fmla="*/ 0 w 35"/>
                <a:gd name="T87" fmla="*/ 112 h 155"/>
                <a:gd name="T88" fmla="*/ 0 w 35"/>
                <a:gd name="T89" fmla="*/ 112 h 155"/>
                <a:gd name="T90" fmla="*/ 0 w 35"/>
                <a:gd name="T91" fmla="*/ 112 h 155"/>
                <a:gd name="T92" fmla="*/ 0 w 35"/>
                <a:gd name="T93" fmla="*/ 112 h 155"/>
                <a:gd name="T94" fmla="*/ 0 w 35"/>
                <a:gd name="T95" fmla="*/ 112 h 155"/>
                <a:gd name="T96" fmla="*/ 0 w 35"/>
                <a:gd name="T97" fmla="*/ 112 h 155"/>
                <a:gd name="T98" fmla="*/ 0 w 35"/>
                <a:gd name="T99" fmla="*/ 113 h 155"/>
                <a:gd name="T100" fmla="*/ 0 w 35"/>
                <a:gd name="T101" fmla="*/ 113 h 155"/>
                <a:gd name="T102" fmla="*/ 24 w 35"/>
                <a:gd name="T103" fmla="*/ 155 h 155"/>
                <a:gd name="T104" fmla="*/ 9 w 35"/>
                <a:gd name="T105" fmla="*/ 116 h 155"/>
                <a:gd name="T106" fmla="*/ 15 w 35"/>
                <a:gd name="T107" fmla="*/ 90 h 155"/>
                <a:gd name="T108" fmla="*/ 5 w 35"/>
                <a:gd name="T109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5" h="155">
                  <a:moveTo>
                    <a:pt x="5" y="0"/>
                  </a:moveTo>
                  <a:cubicBezTo>
                    <a:pt x="15" y="13"/>
                    <a:pt x="20" y="34"/>
                    <a:pt x="15" y="56"/>
                  </a:cubicBezTo>
                  <a:cubicBezTo>
                    <a:pt x="15" y="56"/>
                    <a:pt x="15" y="56"/>
                    <a:pt x="15" y="56"/>
                  </a:cubicBezTo>
                  <a:cubicBezTo>
                    <a:pt x="15" y="56"/>
                    <a:pt x="15" y="56"/>
                    <a:pt x="15" y="56"/>
                  </a:cubicBezTo>
                  <a:cubicBezTo>
                    <a:pt x="13" y="64"/>
                    <a:pt x="11" y="72"/>
                    <a:pt x="6" y="81"/>
                  </a:cubicBezTo>
                  <a:cubicBezTo>
                    <a:pt x="6" y="81"/>
                    <a:pt x="6" y="81"/>
                    <a:pt x="6" y="81"/>
                  </a:cubicBezTo>
                  <a:cubicBezTo>
                    <a:pt x="2" y="89"/>
                    <a:pt x="0" y="98"/>
                    <a:pt x="0" y="107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0" y="107"/>
                    <a:pt x="0" y="107"/>
                    <a:pt x="0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108"/>
                    <a:pt x="0" y="109"/>
                    <a:pt x="0" y="109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09"/>
                    <a:pt x="0" y="110"/>
                    <a:pt x="0" y="110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0" y="110"/>
                    <a:pt x="0" y="111"/>
                    <a:pt x="0" y="111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1"/>
                    <a:pt x="0" y="111"/>
                    <a:pt x="0" y="112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12"/>
                    <a:pt x="0" y="113"/>
                    <a:pt x="0" y="113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" y="129"/>
                    <a:pt x="10" y="144"/>
                    <a:pt x="24" y="155"/>
                  </a:cubicBezTo>
                  <a:cubicBezTo>
                    <a:pt x="14" y="144"/>
                    <a:pt x="9" y="131"/>
                    <a:pt x="9" y="116"/>
                  </a:cubicBezTo>
                  <a:cubicBezTo>
                    <a:pt x="9" y="107"/>
                    <a:pt x="11" y="98"/>
                    <a:pt x="15" y="90"/>
                  </a:cubicBezTo>
                  <a:cubicBezTo>
                    <a:pt x="35" y="53"/>
                    <a:pt x="26" y="15"/>
                    <a:pt x="5" y="0"/>
                  </a:cubicBez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78"/>
            <p:cNvSpPr>
              <a:spLocks noEditPoints="1"/>
            </p:cNvSpPr>
            <p:nvPr/>
          </p:nvSpPr>
          <p:spPr bwMode="auto">
            <a:xfrm>
              <a:off x="8375650" y="4783452"/>
              <a:ext cx="427038" cy="439737"/>
            </a:xfrm>
            <a:custGeom>
              <a:avLst/>
              <a:gdLst>
                <a:gd name="T0" fmla="*/ 16 w 530"/>
                <a:gd name="T1" fmla="*/ 544 h 544"/>
                <a:gd name="T2" fmla="*/ 9 w 530"/>
                <a:gd name="T3" fmla="*/ 537 h 544"/>
                <a:gd name="T4" fmla="*/ 9 w 530"/>
                <a:gd name="T5" fmla="*/ 537 h 544"/>
                <a:gd name="T6" fmla="*/ 8 w 530"/>
                <a:gd name="T7" fmla="*/ 537 h 544"/>
                <a:gd name="T8" fmla="*/ 8 w 530"/>
                <a:gd name="T9" fmla="*/ 536 h 544"/>
                <a:gd name="T10" fmla="*/ 8 w 530"/>
                <a:gd name="T11" fmla="*/ 536 h 544"/>
                <a:gd name="T12" fmla="*/ 8 w 530"/>
                <a:gd name="T13" fmla="*/ 536 h 544"/>
                <a:gd name="T14" fmla="*/ 8 w 530"/>
                <a:gd name="T15" fmla="*/ 536 h 544"/>
                <a:gd name="T16" fmla="*/ 7 w 530"/>
                <a:gd name="T17" fmla="*/ 535 h 544"/>
                <a:gd name="T18" fmla="*/ 1 w 530"/>
                <a:gd name="T19" fmla="*/ 522 h 544"/>
                <a:gd name="T20" fmla="*/ 1 w 530"/>
                <a:gd name="T21" fmla="*/ 522 h 544"/>
                <a:gd name="T22" fmla="*/ 1 w 530"/>
                <a:gd name="T23" fmla="*/ 522 h 544"/>
                <a:gd name="T24" fmla="*/ 1 w 530"/>
                <a:gd name="T25" fmla="*/ 521 h 544"/>
                <a:gd name="T26" fmla="*/ 1 w 530"/>
                <a:gd name="T27" fmla="*/ 521 h 544"/>
                <a:gd name="T28" fmla="*/ 1 w 530"/>
                <a:gd name="T29" fmla="*/ 521 h 544"/>
                <a:gd name="T30" fmla="*/ 1 w 530"/>
                <a:gd name="T31" fmla="*/ 521 h 544"/>
                <a:gd name="T32" fmla="*/ 0 w 530"/>
                <a:gd name="T33" fmla="*/ 520 h 544"/>
                <a:gd name="T34" fmla="*/ 0 w 530"/>
                <a:gd name="T35" fmla="*/ 520 h 544"/>
                <a:gd name="T36" fmla="*/ 0 w 530"/>
                <a:gd name="T37" fmla="*/ 520 h 544"/>
                <a:gd name="T38" fmla="*/ 0 w 530"/>
                <a:gd name="T39" fmla="*/ 519 h 544"/>
                <a:gd name="T40" fmla="*/ 0 w 530"/>
                <a:gd name="T41" fmla="*/ 519 h 544"/>
                <a:gd name="T42" fmla="*/ 0 w 530"/>
                <a:gd name="T43" fmla="*/ 519 h 544"/>
                <a:gd name="T44" fmla="*/ 0 w 530"/>
                <a:gd name="T45" fmla="*/ 519 h 544"/>
                <a:gd name="T46" fmla="*/ 0 w 530"/>
                <a:gd name="T47" fmla="*/ 518 h 544"/>
                <a:gd name="T48" fmla="*/ 0 w 530"/>
                <a:gd name="T49" fmla="*/ 518 h 544"/>
                <a:gd name="T50" fmla="*/ 0 w 530"/>
                <a:gd name="T51" fmla="*/ 518 h 544"/>
                <a:gd name="T52" fmla="*/ 0 w 530"/>
                <a:gd name="T53" fmla="*/ 518 h 544"/>
                <a:gd name="T54" fmla="*/ 0 w 530"/>
                <a:gd name="T55" fmla="*/ 517 h 544"/>
                <a:gd name="T56" fmla="*/ 0 w 530"/>
                <a:gd name="T57" fmla="*/ 517 h 544"/>
                <a:gd name="T58" fmla="*/ 0 w 530"/>
                <a:gd name="T59" fmla="*/ 517 h 544"/>
                <a:gd name="T60" fmla="*/ 0 w 530"/>
                <a:gd name="T61" fmla="*/ 516 h 544"/>
                <a:gd name="T62" fmla="*/ 0 w 530"/>
                <a:gd name="T63" fmla="*/ 516 h 544"/>
                <a:gd name="T64" fmla="*/ 0 w 530"/>
                <a:gd name="T65" fmla="*/ 516 h 544"/>
                <a:gd name="T66" fmla="*/ 0 w 530"/>
                <a:gd name="T67" fmla="*/ 516 h 544"/>
                <a:gd name="T68" fmla="*/ 0 w 530"/>
                <a:gd name="T69" fmla="*/ 515 h 544"/>
                <a:gd name="T70" fmla="*/ 0 w 530"/>
                <a:gd name="T71" fmla="*/ 515 h 544"/>
                <a:gd name="T72" fmla="*/ 0 w 530"/>
                <a:gd name="T73" fmla="*/ 515 h 544"/>
                <a:gd name="T74" fmla="*/ 0 w 530"/>
                <a:gd name="T75" fmla="*/ 514 h 544"/>
                <a:gd name="T76" fmla="*/ 0 w 530"/>
                <a:gd name="T77" fmla="*/ 514 h 544"/>
                <a:gd name="T78" fmla="*/ 0 w 530"/>
                <a:gd name="T79" fmla="*/ 514 h 544"/>
                <a:gd name="T80" fmla="*/ 0 w 530"/>
                <a:gd name="T81" fmla="*/ 514 h 544"/>
                <a:gd name="T82" fmla="*/ 0 w 530"/>
                <a:gd name="T83" fmla="*/ 513 h 544"/>
                <a:gd name="T84" fmla="*/ 530 w 530"/>
                <a:gd name="T85" fmla="*/ 36 h 544"/>
                <a:gd name="T86" fmla="*/ 446 w 530"/>
                <a:gd name="T87" fmla="*/ 0 h 544"/>
                <a:gd name="T88" fmla="*/ 445 w 530"/>
                <a:gd name="T89" fmla="*/ 0 h 544"/>
                <a:gd name="T90" fmla="*/ 444 w 530"/>
                <a:gd name="T91" fmla="*/ 0 h 544"/>
                <a:gd name="T92" fmla="*/ 444 w 530"/>
                <a:gd name="T93" fmla="*/ 0 h 544"/>
                <a:gd name="T94" fmla="*/ 443 w 530"/>
                <a:gd name="T95" fmla="*/ 0 h 544"/>
                <a:gd name="T96" fmla="*/ 443 w 530"/>
                <a:gd name="T97" fmla="*/ 0 h 544"/>
                <a:gd name="T98" fmla="*/ 443 w 530"/>
                <a:gd name="T99" fmla="*/ 0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30" h="544">
                  <a:moveTo>
                    <a:pt x="9" y="537"/>
                  </a:moveTo>
                  <a:cubicBezTo>
                    <a:pt x="11" y="540"/>
                    <a:pt x="13" y="542"/>
                    <a:pt x="16" y="544"/>
                  </a:cubicBezTo>
                  <a:cubicBezTo>
                    <a:pt x="16" y="544"/>
                    <a:pt x="16" y="544"/>
                    <a:pt x="16" y="544"/>
                  </a:cubicBezTo>
                  <a:cubicBezTo>
                    <a:pt x="13" y="542"/>
                    <a:pt x="11" y="540"/>
                    <a:pt x="9" y="537"/>
                  </a:cubicBezTo>
                  <a:moveTo>
                    <a:pt x="9" y="537"/>
                  </a:moveTo>
                  <a:cubicBezTo>
                    <a:pt x="9" y="537"/>
                    <a:pt x="9" y="537"/>
                    <a:pt x="9" y="537"/>
                  </a:cubicBezTo>
                  <a:cubicBezTo>
                    <a:pt x="9" y="537"/>
                    <a:pt x="9" y="537"/>
                    <a:pt x="9" y="537"/>
                  </a:cubicBezTo>
                  <a:moveTo>
                    <a:pt x="8" y="537"/>
                  </a:moveTo>
                  <a:cubicBezTo>
                    <a:pt x="8" y="537"/>
                    <a:pt x="8" y="537"/>
                    <a:pt x="9" y="537"/>
                  </a:cubicBezTo>
                  <a:cubicBezTo>
                    <a:pt x="8" y="537"/>
                    <a:pt x="8" y="537"/>
                    <a:pt x="8" y="537"/>
                  </a:cubicBezTo>
                  <a:moveTo>
                    <a:pt x="8" y="536"/>
                  </a:moveTo>
                  <a:cubicBezTo>
                    <a:pt x="8" y="537"/>
                    <a:pt x="8" y="537"/>
                    <a:pt x="8" y="537"/>
                  </a:cubicBezTo>
                  <a:cubicBezTo>
                    <a:pt x="8" y="537"/>
                    <a:pt x="8" y="537"/>
                    <a:pt x="8" y="536"/>
                  </a:cubicBezTo>
                  <a:moveTo>
                    <a:pt x="8" y="536"/>
                  </a:moveTo>
                  <a:cubicBezTo>
                    <a:pt x="8" y="536"/>
                    <a:pt x="8" y="536"/>
                    <a:pt x="8" y="536"/>
                  </a:cubicBezTo>
                  <a:cubicBezTo>
                    <a:pt x="8" y="536"/>
                    <a:pt x="8" y="536"/>
                    <a:pt x="8" y="536"/>
                  </a:cubicBezTo>
                  <a:moveTo>
                    <a:pt x="8" y="536"/>
                  </a:moveTo>
                  <a:cubicBezTo>
                    <a:pt x="8" y="536"/>
                    <a:pt x="8" y="536"/>
                    <a:pt x="8" y="536"/>
                  </a:cubicBezTo>
                  <a:cubicBezTo>
                    <a:pt x="8" y="536"/>
                    <a:pt x="8" y="536"/>
                    <a:pt x="8" y="536"/>
                  </a:cubicBezTo>
                  <a:moveTo>
                    <a:pt x="8" y="536"/>
                  </a:moveTo>
                  <a:cubicBezTo>
                    <a:pt x="8" y="536"/>
                    <a:pt x="8" y="536"/>
                    <a:pt x="8" y="536"/>
                  </a:cubicBezTo>
                  <a:cubicBezTo>
                    <a:pt x="8" y="536"/>
                    <a:pt x="8" y="536"/>
                    <a:pt x="8" y="536"/>
                  </a:cubicBezTo>
                  <a:moveTo>
                    <a:pt x="7" y="536"/>
                  </a:moveTo>
                  <a:cubicBezTo>
                    <a:pt x="8" y="536"/>
                    <a:pt x="8" y="536"/>
                    <a:pt x="8" y="536"/>
                  </a:cubicBezTo>
                  <a:cubicBezTo>
                    <a:pt x="8" y="536"/>
                    <a:pt x="8" y="536"/>
                    <a:pt x="7" y="536"/>
                  </a:cubicBezTo>
                  <a:moveTo>
                    <a:pt x="7" y="535"/>
                  </a:moveTo>
                  <a:cubicBezTo>
                    <a:pt x="7" y="535"/>
                    <a:pt x="7" y="535"/>
                    <a:pt x="7" y="535"/>
                  </a:cubicBezTo>
                  <a:cubicBezTo>
                    <a:pt x="7" y="535"/>
                    <a:pt x="7" y="535"/>
                    <a:pt x="7" y="535"/>
                  </a:cubicBezTo>
                  <a:moveTo>
                    <a:pt x="1" y="522"/>
                  </a:moveTo>
                  <a:cubicBezTo>
                    <a:pt x="1" y="522"/>
                    <a:pt x="1" y="522"/>
                    <a:pt x="1" y="522"/>
                  </a:cubicBezTo>
                  <a:cubicBezTo>
                    <a:pt x="1" y="522"/>
                    <a:pt x="1" y="522"/>
                    <a:pt x="1" y="522"/>
                  </a:cubicBezTo>
                  <a:moveTo>
                    <a:pt x="1" y="522"/>
                  </a:moveTo>
                  <a:cubicBezTo>
                    <a:pt x="1" y="522"/>
                    <a:pt x="1" y="522"/>
                    <a:pt x="1" y="522"/>
                  </a:cubicBezTo>
                  <a:cubicBezTo>
                    <a:pt x="1" y="522"/>
                    <a:pt x="1" y="522"/>
                    <a:pt x="1" y="522"/>
                  </a:cubicBezTo>
                  <a:moveTo>
                    <a:pt x="1" y="522"/>
                  </a:moveTo>
                  <a:cubicBezTo>
                    <a:pt x="1" y="522"/>
                    <a:pt x="1" y="522"/>
                    <a:pt x="1" y="522"/>
                  </a:cubicBezTo>
                  <a:cubicBezTo>
                    <a:pt x="1" y="522"/>
                    <a:pt x="1" y="522"/>
                    <a:pt x="1" y="522"/>
                  </a:cubicBezTo>
                  <a:moveTo>
                    <a:pt x="1" y="521"/>
                  </a:moveTo>
                  <a:cubicBezTo>
                    <a:pt x="1" y="521"/>
                    <a:pt x="1" y="521"/>
                    <a:pt x="1" y="521"/>
                  </a:cubicBezTo>
                  <a:cubicBezTo>
                    <a:pt x="1" y="521"/>
                    <a:pt x="1" y="521"/>
                    <a:pt x="1" y="521"/>
                  </a:cubicBezTo>
                  <a:moveTo>
                    <a:pt x="1" y="521"/>
                  </a:moveTo>
                  <a:cubicBezTo>
                    <a:pt x="1" y="521"/>
                    <a:pt x="1" y="521"/>
                    <a:pt x="1" y="521"/>
                  </a:cubicBezTo>
                  <a:cubicBezTo>
                    <a:pt x="1" y="521"/>
                    <a:pt x="1" y="521"/>
                    <a:pt x="1" y="521"/>
                  </a:cubicBezTo>
                  <a:moveTo>
                    <a:pt x="1" y="521"/>
                  </a:moveTo>
                  <a:cubicBezTo>
                    <a:pt x="1" y="521"/>
                    <a:pt x="1" y="521"/>
                    <a:pt x="1" y="521"/>
                  </a:cubicBezTo>
                  <a:cubicBezTo>
                    <a:pt x="1" y="521"/>
                    <a:pt x="1" y="521"/>
                    <a:pt x="1" y="521"/>
                  </a:cubicBezTo>
                  <a:moveTo>
                    <a:pt x="1" y="521"/>
                  </a:moveTo>
                  <a:cubicBezTo>
                    <a:pt x="1" y="521"/>
                    <a:pt x="1" y="521"/>
                    <a:pt x="1" y="521"/>
                  </a:cubicBezTo>
                  <a:cubicBezTo>
                    <a:pt x="1" y="521"/>
                    <a:pt x="1" y="521"/>
                    <a:pt x="1" y="521"/>
                  </a:cubicBezTo>
                  <a:moveTo>
                    <a:pt x="0" y="520"/>
                  </a:moveTo>
                  <a:cubicBezTo>
                    <a:pt x="0" y="520"/>
                    <a:pt x="0" y="520"/>
                    <a:pt x="0" y="520"/>
                  </a:cubicBezTo>
                  <a:cubicBezTo>
                    <a:pt x="0" y="520"/>
                    <a:pt x="0" y="520"/>
                    <a:pt x="0" y="520"/>
                  </a:cubicBezTo>
                  <a:moveTo>
                    <a:pt x="0" y="520"/>
                  </a:moveTo>
                  <a:cubicBezTo>
                    <a:pt x="0" y="520"/>
                    <a:pt x="0" y="520"/>
                    <a:pt x="0" y="520"/>
                  </a:cubicBezTo>
                  <a:cubicBezTo>
                    <a:pt x="0" y="520"/>
                    <a:pt x="0" y="520"/>
                    <a:pt x="0" y="520"/>
                  </a:cubicBezTo>
                  <a:moveTo>
                    <a:pt x="0" y="520"/>
                  </a:moveTo>
                  <a:cubicBezTo>
                    <a:pt x="0" y="520"/>
                    <a:pt x="0" y="520"/>
                    <a:pt x="0" y="520"/>
                  </a:cubicBezTo>
                  <a:cubicBezTo>
                    <a:pt x="0" y="520"/>
                    <a:pt x="0" y="520"/>
                    <a:pt x="0" y="520"/>
                  </a:cubicBezTo>
                  <a:moveTo>
                    <a:pt x="0" y="519"/>
                  </a:moveTo>
                  <a:cubicBezTo>
                    <a:pt x="0" y="519"/>
                    <a:pt x="0" y="519"/>
                    <a:pt x="0" y="519"/>
                  </a:cubicBezTo>
                  <a:cubicBezTo>
                    <a:pt x="0" y="519"/>
                    <a:pt x="0" y="519"/>
                    <a:pt x="0" y="519"/>
                  </a:cubicBezTo>
                  <a:moveTo>
                    <a:pt x="0" y="519"/>
                  </a:moveTo>
                  <a:cubicBezTo>
                    <a:pt x="0" y="519"/>
                    <a:pt x="0" y="519"/>
                    <a:pt x="0" y="519"/>
                  </a:cubicBezTo>
                  <a:cubicBezTo>
                    <a:pt x="0" y="519"/>
                    <a:pt x="0" y="519"/>
                    <a:pt x="0" y="519"/>
                  </a:cubicBezTo>
                  <a:moveTo>
                    <a:pt x="0" y="519"/>
                  </a:moveTo>
                  <a:cubicBezTo>
                    <a:pt x="0" y="519"/>
                    <a:pt x="0" y="519"/>
                    <a:pt x="0" y="519"/>
                  </a:cubicBezTo>
                  <a:cubicBezTo>
                    <a:pt x="0" y="519"/>
                    <a:pt x="0" y="519"/>
                    <a:pt x="0" y="519"/>
                  </a:cubicBezTo>
                  <a:moveTo>
                    <a:pt x="0" y="519"/>
                  </a:moveTo>
                  <a:cubicBezTo>
                    <a:pt x="0" y="519"/>
                    <a:pt x="0" y="519"/>
                    <a:pt x="0" y="519"/>
                  </a:cubicBezTo>
                  <a:cubicBezTo>
                    <a:pt x="0" y="519"/>
                    <a:pt x="0" y="519"/>
                    <a:pt x="0" y="519"/>
                  </a:cubicBezTo>
                  <a:moveTo>
                    <a:pt x="0" y="518"/>
                  </a:moveTo>
                  <a:cubicBezTo>
                    <a:pt x="0" y="518"/>
                    <a:pt x="0" y="518"/>
                    <a:pt x="0" y="518"/>
                  </a:cubicBezTo>
                  <a:cubicBezTo>
                    <a:pt x="0" y="518"/>
                    <a:pt x="0" y="518"/>
                    <a:pt x="0" y="518"/>
                  </a:cubicBezTo>
                  <a:moveTo>
                    <a:pt x="0" y="518"/>
                  </a:moveTo>
                  <a:cubicBezTo>
                    <a:pt x="0" y="518"/>
                    <a:pt x="0" y="518"/>
                    <a:pt x="0" y="518"/>
                  </a:cubicBezTo>
                  <a:cubicBezTo>
                    <a:pt x="0" y="518"/>
                    <a:pt x="0" y="518"/>
                    <a:pt x="0" y="518"/>
                  </a:cubicBezTo>
                  <a:moveTo>
                    <a:pt x="0" y="518"/>
                  </a:moveTo>
                  <a:cubicBezTo>
                    <a:pt x="0" y="518"/>
                    <a:pt x="0" y="518"/>
                    <a:pt x="0" y="518"/>
                  </a:cubicBezTo>
                  <a:cubicBezTo>
                    <a:pt x="0" y="518"/>
                    <a:pt x="0" y="518"/>
                    <a:pt x="0" y="518"/>
                  </a:cubicBezTo>
                  <a:moveTo>
                    <a:pt x="0" y="517"/>
                  </a:moveTo>
                  <a:cubicBezTo>
                    <a:pt x="0" y="517"/>
                    <a:pt x="0" y="518"/>
                    <a:pt x="0" y="518"/>
                  </a:cubicBezTo>
                  <a:cubicBezTo>
                    <a:pt x="0" y="518"/>
                    <a:pt x="0" y="517"/>
                    <a:pt x="0" y="517"/>
                  </a:cubicBezTo>
                  <a:moveTo>
                    <a:pt x="0" y="517"/>
                  </a:moveTo>
                  <a:cubicBezTo>
                    <a:pt x="0" y="517"/>
                    <a:pt x="0" y="517"/>
                    <a:pt x="0" y="517"/>
                  </a:cubicBezTo>
                  <a:cubicBezTo>
                    <a:pt x="0" y="517"/>
                    <a:pt x="0" y="517"/>
                    <a:pt x="0" y="517"/>
                  </a:cubicBezTo>
                  <a:moveTo>
                    <a:pt x="0" y="517"/>
                  </a:moveTo>
                  <a:cubicBezTo>
                    <a:pt x="0" y="517"/>
                    <a:pt x="0" y="517"/>
                    <a:pt x="0" y="517"/>
                  </a:cubicBezTo>
                  <a:cubicBezTo>
                    <a:pt x="0" y="517"/>
                    <a:pt x="0" y="517"/>
                    <a:pt x="0" y="517"/>
                  </a:cubicBezTo>
                  <a:moveTo>
                    <a:pt x="0" y="517"/>
                  </a:moveTo>
                  <a:cubicBezTo>
                    <a:pt x="0" y="517"/>
                    <a:pt x="0" y="517"/>
                    <a:pt x="0" y="517"/>
                  </a:cubicBezTo>
                  <a:cubicBezTo>
                    <a:pt x="0" y="517"/>
                    <a:pt x="0" y="517"/>
                    <a:pt x="0" y="517"/>
                  </a:cubicBezTo>
                  <a:moveTo>
                    <a:pt x="0" y="516"/>
                  </a:moveTo>
                  <a:cubicBezTo>
                    <a:pt x="0" y="516"/>
                    <a:pt x="0" y="516"/>
                    <a:pt x="0" y="516"/>
                  </a:cubicBezTo>
                  <a:cubicBezTo>
                    <a:pt x="0" y="516"/>
                    <a:pt x="0" y="516"/>
                    <a:pt x="0" y="516"/>
                  </a:cubicBezTo>
                  <a:moveTo>
                    <a:pt x="0" y="516"/>
                  </a:moveTo>
                  <a:cubicBezTo>
                    <a:pt x="0" y="516"/>
                    <a:pt x="0" y="516"/>
                    <a:pt x="0" y="516"/>
                  </a:cubicBezTo>
                  <a:cubicBezTo>
                    <a:pt x="0" y="516"/>
                    <a:pt x="0" y="516"/>
                    <a:pt x="0" y="516"/>
                  </a:cubicBezTo>
                  <a:moveTo>
                    <a:pt x="0" y="516"/>
                  </a:moveTo>
                  <a:cubicBezTo>
                    <a:pt x="0" y="516"/>
                    <a:pt x="0" y="516"/>
                    <a:pt x="0" y="516"/>
                  </a:cubicBezTo>
                  <a:cubicBezTo>
                    <a:pt x="0" y="516"/>
                    <a:pt x="0" y="516"/>
                    <a:pt x="0" y="516"/>
                  </a:cubicBezTo>
                  <a:moveTo>
                    <a:pt x="0" y="515"/>
                  </a:moveTo>
                  <a:cubicBezTo>
                    <a:pt x="0" y="515"/>
                    <a:pt x="0" y="516"/>
                    <a:pt x="0" y="516"/>
                  </a:cubicBezTo>
                  <a:cubicBezTo>
                    <a:pt x="0" y="516"/>
                    <a:pt x="0" y="515"/>
                    <a:pt x="0" y="515"/>
                  </a:cubicBezTo>
                  <a:moveTo>
                    <a:pt x="0" y="515"/>
                  </a:moveTo>
                  <a:cubicBezTo>
                    <a:pt x="0" y="515"/>
                    <a:pt x="0" y="515"/>
                    <a:pt x="0" y="515"/>
                  </a:cubicBezTo>
                  <a:cubicBezTo>
                    <a:pt x="0" y="515"/>
                    <a:pt x="0" y="515"/>
                    <a:pt x="0" y="515"/>
                  </a:cubicBezTo>
                  <a:moveTo>
                    <a:pt x="0" y="515"/>
                  </a:moveTo>
                  <a:cubicBezTo>
                    <a:pt x="0" y="515"/>
                    <a:pt x="0" y="515"/>
                    <a:pt x="0" y="515"/>
                  </a:cubicBezTo>
                  <a:cubicBezTo>
                    <a:pt x="0" y="515"/>
                    <a:pt x="0" y="515"/>
                    <a:pt x="0" y="515"/>
                  </a:cubicBezTo>
                  <a:moveTo>
                    <a:pt x="0" y="515"/>
                  </a:moveTo>
                  <a:cubicBezTo>
                    <a:pt x="0" y="515"/>
                    <a:pt x="0" y="515"/>
                    <a:pt x="0" y="515"/>
                  </a:cubicBezTo>
                  <a:cubicBezTo>
                    <a:pt x="0" y="515"/>
                    <a:pt x="0" y="515"/>
                    <a:pt x="0" y="515"/>
                  </a:cubicBezTo>
                  <a:moveTo>
                    <a:pt x="0" y="514"/>
                  </a:moveTo>
                  <a:cubicBezTo>
                    <a:pt x="0" y="514"/>
                    <a:pt x="0" y="514"/>
                    <a:pt x="0" y="514"/>
                  </a:cubicBezTo>
                  <a:cubicBezTo>
                    <a:pt x="0" y="514"/>
                    <a:pt x="0" y="514"/>
                    <a:pt x="0" y="514"/>
                  </a:cubicBezTo>
                  <a:moveTo>
                    <a:pt x="0" y="514"/>
                  </a:moveTo>
                  <a:cubicBezTo>
                    <a:pt x="0" y="514"/>
                    <a:pt x="0" y="514"/>
                    <a:pt x="0" y="514"/>
                  </a:cubicBezTo>
                  <a:cubicBezTo>
                    <a:pt x="0" y="514"/>
                    <a:pt x="0" y="514"/>
                    <a:pt x="0" y="514"/>
                  </a:cubicBezTo>
                  <a:moveTo>
                    <a:pt x="0" y="514"/>
                  </a:moveTo>
                  <a:cubicBezTo>
                    <a:pt x="0" y="514"/>
                    <a:pt x="0" y="514"/>
                    <a:pt x="0" y="514"/>
                  </a:cubicBezTo>
                  <a:cubicBezTo>
                    <a:pt x="0" y="514"/>
                    <a:pt x="0" y="514"/>
                    <a:pt x="0" y="514"/>
                  </a:cubicBezTo>
                  <a:moveTo>
                    <a:pt x="0" y="513"/>
                  </a:moveTo>
                  <a:cubicBezTo>
                    <a:pt x="0" y="513"/>
                    <a:pt x="0" y="513"/>
                    <a:pt x="0" y="514"/>
                  </a:cubicBezTo>
                  <a:cubicBezTo>
                    <a:pt x="0" y="513"/>
                    <a:pt x="0" y="513"/>
                    <a:pt x="0" y="513"/>
                  </a:cubicBezTo>
                  <a:moveTo>
                    <a:pt x="0" y="513"/>
                  </a:moveTo>
                  <a:cubicBezTo>
                    <a:pt x="0" y="513"/>
                    <a:pt x="0" y="513"/>
                    <a:pt x="0" y="513"/>
                  </a:cubicBezTo>
                  <a:cubicBezTo>
                    <a:pt x="0" y="513"/>
                    <a:pt x="0" y="513"/>
                    <a:pt x="0" y="513"/>
                  </a:cubicBezTo>
                  <a:moveTo>
                    <a:pt x="446" y="0"/>
                  </a:moveTo>
                  <a:cubicBezTo>
                    <a:pt x="481" y="1"/>
                    <a:pt x="512" y="15"/>
                    <a:pt x="530" y="36"/>
                  </a:cubicBezTo>
                  <a:cubicBezTo>
                    <a:pt x="530" y="36"/>
                    <a:pt x="530" y="36"/>
                    <a:pt x="530" y="36"/>
                  </a:cubicBezTo>
                  <a:cubicBezTo>
                    <a:pt x="512" y="15"/>
                    <a:pt x="481" y="1"/>
                    <a:pt x="446" y="0"/>
                  </a:cubicBezTo>
                  <a:moveTo>
                    <a:pt x="446" y="0"/>
                  </a:moveTo>
                  <a:cubicBezTo>
                    <a:pt x="446" y="0"/>
                    <a:pt x="446" y="0"/>
                    <a:pt x="446" y="0"/>
                  </a:cubicBezTo>
                  <a:cubicBezTo>
                    <a:pt x="446" y="0"/>
                    <a:pt x="446" y="0"/>
                    <a:pt x="446" y="0"/>
                  </a:cubicBezTo>
                  <a:moveTo>
                    <a:pt x="445" y="0"/>
                  </a:moveTo>
                  <a:cubicBezTo>
                    <a:pt x="445" y="0"/>
                    <a:pt x="445" y="0"/>
                    <a:pt x="445" y="0"/>
                  </a:cubicBezTo>
                  <a:cubicBezTo>
                    <a:pt x="445" y="0"/>
                    <a:pt x="445" y="0"/>
                    <a:pt x="445" y="0"/>
                  </a:cubicBezTo>
                  <a:moveTo>
                    <a:pt x="444" y="0"/>
                  </a:moveTo>
                  <a:cubicBezTo>
                    <a:pt x="444" y="0"/>
                    <a:pt x="444" y="0"/>
                    <a:pt x="444" y="0"/>
                  </a:cubicBezTo>
                  <a:cubicBezTo>
                    <a:pt x="444" y="0"/>
                    <a:pt x="444" y="0"/>
                    <a:pt x="444" y="0"/>
                  </a:cubicBezTo>
                  <a:moveTo>
                    <a:pt x="444" y="0"/>
                  </a:moveTo>
                  <a:cubicBezTo>
                    <a:pt x="444" y="0"/>
                    <a:pt x="444" y="0"/>
                    <a:pt x="444" y="0"/>
                  </a:cubicBezTo>
                  <a:cubicBezTo>
                    <a:pt x="444" y="0"/>
                    <a:pt x="444" y="0"/>
                    <a:pt x="444" y="0"/>
                  </a:cubicBezTo>
                  <a:moveTo>
                    <a:pt x="443" y="0"/>
                  </a:moveTo>
                  <a:cubicBezTo>
                    <a:pt x="443" y="0"/>
                    <a:pt x="444" y="0"/>
                    <a:pt x="444" y="0"/>
                  </a:cubicBezTo>
                  <a:cubicBezTo>
                    <a:pt x="444" y="0"/>
                    <a:pt x="443" y="0"/>
                    <a:pt x="443" y="0"/>
                  </a:cubicBezTo>
                  <a:moveTo>
                    <a:pt x="443" y="0"/>
                  </a:moveTo>
                  <a:cubicBezTo>
                    <a:pt x="443" y="0"/>
                    <a:pt x="443" y="0"/>
                    <a:pt x="443" y="0"/>
                  </a:cubicBezTo>
                  <a:cubicBezTo>
                    <a:pt x="443" y="0"/>
                    <a:pt x="443" y="0"/>
                    <a:pt x="443" y="0"/>
                  </a:cubicBezTo>
                  <a:moveTo>
                    <a:pt x="443" y="0"/>
                  </a:moveTo>
                  <a:cubicBezTo>
                    <a:pt x="443" y="0"/>
                    <a:pt x="443" y="0"/>
                    <a:pt x="443" y="0"/>
                  </a:cubicBezTo>
                  <a:cubicBezTo>
                    <a:pt x="443" y="0"/>
                    <a:pt x="443" y="0"/>
                    <a:pt x="443" y="0"/>
                  </a:cubicBezTo>
                </a:path>
              </a:pathLst>
            </a:custGeom>
            <a:solidFill>
              <a:srgbClr val="EC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79"/>
            <p:cNvSpPr>
              <a:spLocks/>
            </p:cNvSpPr>
            <p:nvPr/>
          </p:nvSpPr>
          <p:spPr bwMode="auto">
            <a:xfrm>
              <a:off x="8375650" y="4783452"/>
              <a:ext cx="427038" cy="439737"/>
            </a:xfrm>
            <a:custGeom>
              <a:avLst/>
              <a:gdLst>
                <a:gd name="T0" fmla="*/ 340 w 530"/>
                <a:gd name="T1" fmla="*/ 75 h 544"/>
                <a:gd name="T2" fmla="*/ 357 w 530"/>
                <a:gd name="T3" fmla="*/ 143 h 544"/>
                <a:gd name="T4" fmla="*/ 0 w 530"/>
                <a:gd name="T5" fmla="*/ 199 h 544"/>
                <a:gd name="T6" fmla="*/ 0 w 530"/>
                <a:gd name="T7" fmla="*/ 513 h 544"/>
                <a:gd name="T8" fmla="*/ 0 w 530"/>
                <a:gd name="T9" fmla="*/ 513 h 544"/>
                <a:gd name="T10" fmla="*/ 0 w 530"/>
                <a:gd name="T11" fmla="*/ 514 h 544"/>
                <a:gd name="T12" fmla="*/ 0 w 530"/>
                <a:gd name="T13" fmla="*/ 514 h 544"/>
                <a:gd name="T14" fmla="*/ 0 w 530"/>
                <a:gd name="T15" fmla="*/ 514 h 544"/>
                <a:gd name="T16" fmla="*/ 0 w 530"/>
                <a:gd name="T17" fmla="*/ 515 h 544"/>
                <a:gd name="T18" fmla="*/ 0 w 530"/>
                <a:gd name="T19" fmla="*/ 515 h 544"/>
                <a:gd name="T20" fmla="*/ 0 w 530"/>
                <a:gd name="T21" fmla="*/ 515 h 544"/>
                <a:gd name="T22" fmla="*/ 0 w 530"/>
                <a:gd name="T23" fmla="*/ 515 h 544"/>
                <a:gd name="T24" fmla="*/ 0 w 530"/>
                <a:gd name="T25" fmla="*/ 516 h 544"/>
                <a:gd name="T26" fmla="*/ 0 w 530"/>
                <a:gd name="T27" fmla="*/ 516 h 544"/>
                <a:gd name="T28" fmla="*/ 0 w 530"/>
                <a:gd name="T29" fmla="*/ 516 h 544"/>
                <a:gd name="T30" fmla="*/ 0 w 530"/>
                <a:gd name="T31" fmla="*/ 517 h 544"/>
                <a:gd name="T32" fmla="*/ 0 w 530"/>
                <a:gd name="T33" fmla="*/ 517 h 544"/>
                <a:gd name="T34" fmla="*/ 0 w 530"/>
                <a:gd name="T35" fmla="*/ 517 h 544"/>
                <a:gd name="T36" fmla="*/ 0 w 530"/>
                <a:gd name="T37" fmla="*/ 517 h 544"/>
                <a:gd name="T38" fmla="*/ 0 w 530"/>
                <a:gd name="T39" fmla="*/ 518 h 544"/>
                <a:gd name="T40" fmla="*/ 0 w 530"/>
                <a:gd name="T41" fmla="*/ 518 h 544"/>
                <a:gd name="T42" fmla="*/ 0 w 530"/>
                <a:gd name="T43" fmla="*/ 518 h 544"/>
                <a:gd name="T44" fmla="*/ 0 w 530"/>
                <a:gd name="T45" fmla="*/ 519 h 544"/>
                <a:gd name="T46" fmla="*/ 0 w 530"/>
                <a:gd name="T47" fmla="*/ 519 h 544"/>
                <a:gd name="T48" fmla="*/ 0 w 530"/>
                <a:gd name="T49" fmla="*/ 519 h 544"/>
                <a:gd name="T50" fmla="*/ 0 w 530"/>
                <a:gd name="T51" fmla="*/ 519 h 544"/>
                <a:gd name="T52" fmla="*/ 0 w 530"/>
                <a:gd name="T53" fmla="*/ 520 h 544"/>
                <a:gd name="T54" fmla="*/ 0 w 530"/>
                <a:gd name="T55" fmla="*/ 520 h 544"/>
                <a:gd name="T56" fmla="*/ 0 w 530"/>
                <a:gd name="T57" fmla="*/ 520 h 544"/>
                <a:gd name="T58" fmla="*/ 1 w 530"/>
                <a:gd name="T59" fmla="*/ 521 h 544"/>
                <a:gd name="T60" fmla="*/ 1 w 530"/>
                <a:gd name="T61" fmla="*/ 521 h 544"/>
                <a:gd name="T62" fmla="*/ 1 w 530"/>
                <a:gd name="T63" fmla="*/ 521 h 544"/>
                <a:gd name="T64" fmla="*/ 1 w 530"/>
                <a:gd name="T65" fmla="*/ 521 h 544"/>
                <a:gd name="T66" fmla="*/ 1 w 530"/>
                <a:gd name="T67" fmla="*/ 522 h 544"/>
                <a:gd name="T68" fmla="*/ 1 w 530"/>
                <a:gd name="T69" fmla="*/ 522 h 544"/>
                <a:gd name="T70" fmla="*/ 1 w 530"/>
                <a:gd name="T71" fmla="*/ 522 h 544"/>
                <a:gd name="T72" fmla="*/ 7 w 530"/>
                <a:gd name="T73" fmla="*/ 535 h 544"/>
                <a:gd name="T74" fmla="*/ 7 w 530"/>
                <a:gd name="T75" fmla="*/ 536 h 544"/>
                <a:gd name="T76" fmla="*/ 8 w 530"/>
                <a:gd name="T77" fmla="*/ 536 h 544"/>
                <a:gd name="T78" fmla="*/ 8 w 530"/>
                <a:gd name="T79" fmla="*/ 536 h 544"/>
                <a:gd name="T80" fmla="*/ 8 w 530"/>
                <a:gd name="T81" fmla="*/ 536 h 544"/>
                <a:gd name="T82" fmla="*/ 8 w 530"/>
                <a:gd name="T83" fmla="*/ 536 h 544"/>
                <a:gd name="T84" fmla="*/ 8 w 530"/>
                <a:gd name="T85" fmla="*/ 537 h 544"/>
                <a:gd name="T86" fmla="*/ 9 w 530"/>
                <a:gd name="T87" fmla="*/ 537 h 544"/>
                <a:gd name="T88" fmla="*/ 9 w 530"/>
                <a:gd name="T89" fmla="*/ 537 h 544"/>
                <a:gd name="T90" fmla="*/ 9 w 530"/>
                <a:gd name="T91" fmla="*/ 522 h 544"/>
                <a:gd name="T92" fmla="*/ 323 w 530"/>
                <a:gd name="T93" fmla="*/ 208 h 544"/>
                <a:gd name="T94" fmla="*/ 349 w 530"/>
                <a:gd name="T95" fmla="*/ 84 h 544"/>
                <a:gd name="T96" fmla="*/ 530 w 530"/>
                <a:gd name="T97" fmla="*/ 36 h 544"/>
                <a:gd name="T98" fmla="*/ 446 w 530"/>
                <a:gd name="T99" fmla="*/ 0 h 544"/>
                <a:gd name="T100" fmla="*/ 445 w 530"/>
                <a:gd name="T101" fmla="*/ 0 h 544"/>
                <a:gd name="T102" fmla="*/ 444 w 530"/>
                <a:gd name="T103" fmla="*/ 0 h 544"/>
                <a:gd name="T104" fmla="*/ 444 w 530"/>
                <a:gd name="T105" fmla="*/ 0 h 544"/>
                <a:gd name="T106" fmla="*/ 444 w 530"/>
                <a:gd name="T107" fmla="*/ 0 h 544"/>
                <a:gd name="T108" fmla="*/ 443 w 530"/>
                <a:gd name="T109" fmla="*/ 0 h 544"/>
                <a:gd name="T110" fmla="*/ 443 w 530"/>
                <a:gd name="T111" fmla="*/ 0 h 544"/>
                <a:gd name="T112" fmla="*/ 442 w 530"/>
                <a:gd name="T113" fmla="*/ 0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30" h="544">
                  <a:moveTo>
                    <a:pt x="442" y="0"/>
                  </a:moveTo>
                  <a:cubicBezTo>
                    <a:pt x="386" y="0"/>
                    <a:pt x="340" y="34"/>
                    <a:pt x="340" y="75"/>
                  </a:cubicBezTo>
                  <a:cubicBezTo>
                    <a:pt x="340" y="84"/>
                    <a:pt x="342" y="93"/>
                    <a:pt x="346" y="101"/>
                  </a:cubicBezTo>
                  <a:cubicBezTo>
                    <a:pt x="354" y="116"/>
                    <a:pt x="357" y="130"/>
                    <a:pt x="357" y="143"/>
                  </a:cubicBezTo>
                  <a:cubicBezTo>
                    <a:pt x="357" y="174"/>
                    <a:pt x="338" y="199"/>
                    <a:pt x="314" y="199"/>
                  </a:cubicBezTo>
                  <a:cubicBezTo>
                    <a:pt x="0" y="199"/>
                    <a:pt x="0" y="199"/>
                    <a:pt x="0" y="199"/>
                  </a:cubicBezTo>
                  <a:cubicBezTo>
                    <a:pt x="0" y="513"/>
                    <a:pt x="0" y="513"/>
                    <a:pt x="0" y="513"/>
                  </a:cubicBezTo>
                  <a:cubicBezTo>
                    <a:pt x="0" y="513"/>
                    <a:pt x="0" y="513"/>
                    <a:pt x="0" y="513"/>
                  </a:cubicBezTo>
                  <a:cubicBezTo>
                    <a:pt x="0" y="513"/>
                    <a:pt x="0" y="513"/>
                    <a:pt x="0" y="513"/>
                  </a:cubicBezTo>
                  <a:cubicBezTo>
                    <a:pt x="0" y="513"/>
                    <a:pt x="0" y="513"/>
                    <a:pt x="0" y="513"/>
                  </a:cubicBezTo>
                  <a:cubicBezTo>
                    <a:pt x="0" y="513"/>
                    <a:pt x="0" y="513"/>
                    <a:pt x="0" y="514"/>
                  </a:cubicBezTo>
                  <a:cubicBezTo>
                    <a:pt x="0" y="514"/>
                    <a:pt x="0" y="514"/>
                    <a:pt x="0" y="514"/>
                  </a:cubicBezTo>
                  <a:cubicBezTo>
                    <a:pt x="0" y="514"/>
                    <a:pt x="0" y="514"/>
                    <a:pt x="0" y="514"/>
                  </a:cubicBezTo>
                  <a:cubicBezTo>
                    <a:pt x="0" y="514"/>
                    <a:pt x="0" y="514"/>
                    <a:pt x="0" y="514"/>
                  </a:cubicBezTo>
                  <a:cubicBezTo>
                    <a:pt x="0" y="514"/>
                    <a:pt x="0" y="514"/>
                    <a:pt x="0" y="514"/>
                  </a:cubicBezTo>
                  <a:cubicBezTo>
                    <a:pt x="0" y="514"/>
                    <a:pt x="0" y="514"/>
                    <a:pt x="0" y="514"/>
                  </a:cubicBezTo>
                  <a:cubicBezTo>
                    <a:pt x="0" y="514"/>
                    <a:pt x="0" y="514"/>
                    <a:pt x="0" y="514"/>
                  </a:cubicBezTo>
                  <a:cubicBezTo>
                    <a:pt x="0" y="514"/>
                    <a:pt x="0" y="515"/>
                    <a:pt x="0" y="515"/>
                  </a:cubicBezTo>
                  <a:cubicBezTo>
                    <a:pt x="0" y="515"/>
                    <a:pt x="0" y="515"/>
                    <a:pt x="0" y="515"/>
                  </a:cubicBezTo>
                  <a:cubicBezTo>
                    <a:pt x="0" y="515"/>
                    <a:pt x="0" y="515"/>
                    <a:pt x="0" y="515"/>
                  </a:cubicBezTo>
                  <a:cubicBezTo>
                    <a:pt x="0" y="515"/>
                    <a:pt x="0" y="515"/>
                    <a:pt x="0" y="515"/>
                  </a:cubicBezTo>
                  <a:cubicBezTo>
                    <a:pt x="0" y="515"/>
                    <a:pt x="0" y="515"/>
                    <a:pt x="0" y="515"/>
                  </a:cubicBezTo>
                  <a:cubicBezTo>
                    <a:pt x="0" y="515"/>
                    <a:pt x="0" y="515"/>
                    <a:pt x="0" y="515"/>
                  </a:cubicBezTo>
                  <a:cubicBezTo>
                    <a:pt x="0" y="515"/>
                    <a:pt x="0" y="515"/>
                    <a:pt x="0" y="515"/>
                  </a:cubicBezTo>
                  <a:cubicBezTo>
                    <a:pt x="0" y="515"/>
                    <a:pt x="0" y="516"/>
                    <a:pt x="0" y="516"/>
                  </a:cubicBezTo>
                  <a:cubicBezTo>
                    <a:pt x="0" y="516"/>
                    <a:pt x="0" y="516"/>
                    <a:pt x="0" y="516"/>
                  </a:cubicBezTo>
                  <a:cubicBezTo>
                    <a:pt x="0" y="516"/>
                    <a:pt x="0" y="516"/>
                    <a:pt x="0" y="516"/>
                  </a:cubicBezTo>
                  <a:cubicBezTo>
                    <a:pt x="0" y="516"/>
                    <a:pt x="0" y="516"/>
                    <a:pt x="0" y="516"/>
                  </a:cubicBezTo>
                  <a:cubicBezTo>
                    <a:pt x="0" y="516"/>
                    <a:pt x="0" y="516"/>
                    <a:pt x="0" y="516"/>
                  </a:cubicBezTo>
                  <a:cubicBezTo>
                    <a:pt x="0" y="516"/>
                    <a:pt x="0" y="516"/>
                    <a:pt x="0" y="516"/>
                  </a:cubicBezTo>
                  <a:cubicBezTo>
                    <a:pt x="0" y="516"/>
                    <a:pt x="0" y="516"/>
                    <a:pt x="0" y="516"/>
                  </a:cubicBezTo>
                  <a:cubicBezTo>
                    <a:pt x="0" y="516"/>
                    <a:pt x="0" y="517"/>
                    <a:pt x="0" y="517"/>
                  </a:cubicBezTo>
                  <a:cubicBezTo>
                    <a:pt x="0" y="517"/>
                    <a:pt x="0" y="517"/>
                    <a:pt x="0" y="517"/>
                  </a:cubicBezTo>
                  <a:cubicBezTo>
                    <a:pt x="0" y="517"/>
                    <a:pt x="0" y="517"/>
                    <a:pt x="0" y="517"/>
                  </a:cubicBezTo>
                  <a:cubicBezTo>
                    <a:pt x="0" y="517"/>
                    <a:pt x="0" y="517"/>
                    <a:pt x="0" y="517"/>
                  </a:cubicBezTo>
                  <a:cubicBezTo>
                    <a:pt x="0" y="517"/>
                    <a:pt x="0" y="517"/>
                    <a:pt x="0" y="517"/>
                  </a:cubicBezTo>
                  <a:cubicBezTo>
                    <a:pt x="0" y="517"/>
                    <a:pt x="0" y="517"/>
                    <a:pt x="0" y="517"/>
                  </a:cubicBezTo>
                  <a:cubicBezTo>
                    <a:pt x="0" y="517"/>
                    <a:pt x="0" y="517"/>
                    <a:pt x="0" y="517"/>
                  </a:cubicBezTo>
                  <a:cubicBezTo>
                    <a:pt x="0" y="517"/>
                    <a:pt x="0" y="518"/>
                    <a:pt x="0" y="518"/>
                  </a:cubicBezTo>
                  <a:cubicBezTo>
                    <a:pt x="0" y="518"/>
                    <a:pt x="0" y="518"/>
                    <a:pt x="0" y="518"/>
                  </a:cubicBezTo>
                  <a:cubicBezTo>
                    <a:pt x="0" y="518"/>
                    <a:pt x="0" y="518"/>
                    <a:pt x="0" y="518"/>
                  </a:cubicBezTo>
                  <a:cubicBezTo>
                    <a:pt x="0" y="518"/>
                    <a:pt x="0" y="518"/>
                    <a:pt x="0" y="518"/>
                  </a:cubicBezTo>
                  <a:cubicBezTo>
                    <a:pt x="0" y="518"/>
                    <a:pt x="0" y="518"/>
                    <a:pt x="0" y="518"/>
                  </a:cubicBezTo>
                  <a:cubicBezTo>
                    <a:pt x="0" y="518"/>
                    <a:pt x="0" y="518"/>
                    <a:pt x="0" y="518"/>
                  </a:cubicBezTo>
                  <a:cubicBezTo>
                    <a:pt x="0" y="518"/>
                    <a:pt x="0" y="518"/>
                    <a:pt x="0" y="518"/>
                  </a:cubicBezTo>
                  <a:cubicBezTo>
                    <a:pt x="0" y="518"/>
                    <a:pt x="0" y="519"/>
                    <a:pt x="0" y="519"/>
                  </a:cubicBezTo>
                  <a:cubicBezTo>
                    <a:pt x="0" y="519"/>
                    <a:pt x="0" y="519"/>
                    <a:pt x="0" y="519"/>
                  </a:cubicBezTo>
                  <a:cubicBezTo>
                    <a:pt x="0" y="519"/>
                    <a:pt x="0" y="519"/>
                    <a:pt x="0" y="519"/>
                  </a:cubicBezTo>
                  <a:cubicBezTo>
                    <a:pt x="0" y="519"/>
                    <a:pt x="0" y="519"/>
                    <a:pt x="0" y="519"/>
                  </a:cubicBezTo>
                  <a:cubicBezTo>
                    <a:pt x="0" y="519"/>
                    <a:pt x="0" y="519"/>
                    <a:pt x="0" y="519"/>
                  </a:cubicBezTo>
                  <a:cubicBezTo>
                    <a:pt x="0" y="519"/>
                    <a:pt x="0" y="519"/>
                    <a:pt x="0" y="519"/>
                  </a:cubicBezTo>
                  <a:cubicBezTo>
                    <a:pt x="0" y="519"/>
                    <a:pt x="0" y="519"/>
                    <a:pt x="0" y="519"/>
                  </a:cubicBezTo>
                  <a:cubicBezTo>
                    <a:pt x="0" y="519"/>
                    <a:pt x="0" y="519"/>
                    <a:pt x="0" y="519"/>
                  </a:cubicBezTo>
                  <a:cubicBezTo>
                    <a:pt x="0" y="520"/>
                    <a:pt x="0" y="520"/>
                    <a:pt x="0" y="520"/>
                  </a:cubicBezTo>
                  <a:cubicBezTo>
                    <a:pt x="0" y="520"/>
                    <a:pt x="0" y="520"/>
                    <a:pt x="0" y="520"/>
                  </a:cubicBezTo>
                  <a:cubicBezTo>
                    <a:pt x="0" y="520"/>
                    <a:pt x="0" y="520"/>
                    <a:pt x="0" y="520"/>
                  </a:cubicBezTo>
                  <a:cubicBezTo>
                    <a:pt x="0" y="520"/>
                    <a:pt x="0" y="520"/>
                    <a:pt x="0" y="520"/>
                  </a:cubicBezTo>
                  <a:cubicBezTo>
                    <a:pt x="0" y="520"/>
                    <a:pt x="0" y="520"/>
                    <a:pt x="0" y="520"/>
                  </a:cubicBezTo>
                  <a:cubicBezTo>
                    <a:pt x="0" y="520"/>
                    <a:pt x="0" y="520"/>
                    <a:pt x="0" y="520"/>
                  </a:cubicBezTo>
                  <a:cubicBezTo>
                    <a:pt x="0" y="520"/>
                    <a:pt x="0" y="520"/>
                    <a:pt x="1" y="521"/>
                  </a:cubicBezTo>
                  <a:cubicBezTo>
                    <a:pt x="1" y="521"/>
                    <a:pt x="1" y="521"/>
                    <a:pt x="1" y="521"/>
                  </a:cubicBezTo>
                  <a:cubicBezTo>
                    <a:pt x="1" y="521"/>
                    <a:pt x="1" y="521"/>
                    <a:pt x="1" y="521"/>
                  </a:cubicBezTo>
                  <a:cubicBezTo>
                    <a:pt x="1" y="521"/>
                    <a:pt x="1" y="521"/>
                    <a:pt x="1" y="521"/>
                  </a:cubicBezTo>
                  <a:cubicBezTo>
                    <a:pt x="1" y="521"/>
                    <a:pt x="1" y="521"/>
                    <a:pt x="1" y="521"/>
                  </a:cubicBezTo>
                  <a:cubicBezTo>
                    <a:pt x="1" y="521"/>
                    <a:pt x="1" y="521"/>
                    <a:pt x="1" y="521"/>
                  </a:cubicBezTo>
                  <a:cubicBezTo>
                    <a:pt x="1" y="521"/>
                    <a:pt x="1" y="521"/>
                    <a:pt x="1" y="521"/>
                  </a:cubicBezTo>
                  <a:cubicBezTo>
                    <a:pt x="1" y="521"/>
                    <a:pt x="1" y="521"/>
                    <a:pt x="1" y="521"/>
                  </a:cubicBezTo>
                  <a:cubicBezTo>
                    <a:pt x="1" y="522"/>
                    <a:pt x="1" y="522"/>
                    <a:pt x="1" y="522"/>
                  </a:cubicBezTo>
                  <a:cubicBezTo>
                    <a:pt x="1" y="522"/>
                    <a:pt x="1" y="522"/>
                    <a:pt x="1" y="522"/>
                  </a:cubicBezTo>
                  <a:cubicBezTo>
                    <a:pt x="1" y="522"/>
                    <a:pt x="1" y="522"/>
                    <a:pt x="1" y="522"/>
                  </a:cubicBezTo>
                  <a:cubicBezTo>
                    <a:pt x="1" y="522"/>
                    <a:pt x="1" y="522"/>
                    <a:pt x="1" y="522"/>
                  </a:cubicBezTo>
                  <a:cubicBezTo>
                    <a:pt x="1" y="522"/>
                    <a:pt x="1" y="522"/>
                    <a:pt x="1" y="522"/>
                  </a:cubicBezTo>
                  <a:cubicBezTo>
                    <a:pt x="1" y="522"/>
                    <a:pt x="1" y="522"/>
                    <a:pt x="1" y="522"/>
                  </a:cubicBezTo>
                  <a:cubicBezTo>
                    <a:pt x="2" y="527"/>
                    <a:pt x="4" y="531"/>
                    <a:pt x="7" y="535"/>
                  </a:cubicBezTo>
                  <a:cubicBezTo>
                    <a:pt x="7" y="535"/>
                    <a:pt x="7" y="535"/>
                    <a:pt x="7" y="535"/>
                  </a:cubicBezTo>
                  <a:cubicBezTo>
                    <a:pt x="7" y="535"/>
                    <a:pt x="7" y="536"/>
                    <a:pt x="7" y="536"/>
                  </a:cubicBezTo>
                  <a:cubicBezTo>
                    <a:pt x="8" y="536"/>
                    <a:pt x="8" y="536"/>
                    <a:pt x="8" y="536"/>
                  </a:cubicBezTo>
                  <a:cubicBezTo>
                    <a:pt x="8" y="536"/>
                    <a:pt x="8" y="536"/>
                    <a:pt x="8" y="536"/>
                  </a:cubicBezTo>
                  <a:cubicBezTo>
                    <a:pt x="8" y="536"/>
                    <a:pt x="8" y="536"/>
                    <a:pt x="8" y="536"/>
                  </a:cubicBezTo>
                  <a:cubicBezTo>
                    <a:pt x="8" y="536"/>
                    <a:pt x="8" y="536"/>
                    <a:pt x="8" y="536"/>
                  </a:cubicBezTo>
                  <a:cubicBezTo>
                    <a:pt x="8" y="536"/>
                    <a:pt x="8" y="536"/>
                    <a:pt x="8" y="536"/>
                  </a:cubicBezTo>
                  <a:cubicBezTo>
                    <a:pt x="8" y="536"/>
                    <a:pt x="8" y="536"/>
                    <a:pt x="8" y="536"/>
                  </a:cubicBezTo>
                  <a:cubicBezTo>
                    <a:pt x="8" y="536"/>
                    <a:pt x="8" y="536"/>
                    <a:pt x="8" y="536"/>
                  </a:cubicBezTo>
                  <a:cubicBezTo>
                    <a:pt x="8" y="536"/>
                    <a:pt x="8" y="536"/>
                    <a:pt x="8" y="536"/>
                  </a:cubicBezTo>
                  <a:cubicBezTo>
                    <a:pt x="8" y="537"/>
                    <a:pt x="8" y="537"/>
                    <a:pt x="8" y="537"/>
                  </a:cubicBezTo>
                  <a:cubicBezTo>
                    <a:pt x="8" y="537"/>
                    <a:pt x="8" y="537"/>
                    <a:pt x="8" y="537"/>
                  </a:cubicBezTo>
                  <a:cubicBezTo>
                    <a:pt x="8" y="537"/>
                    <a:pt x="8" y="537"/>
                    <a:pt x="9" y="537"/>
                  </a:cubicBezTo>
                  <a:cubicBezTo>
                    <a:pt x="9" y="537"/>
                    <a:pt x="9" y="537"/>
                    <a:pt x="9" y="537"/>
                  </a:cubicBezTo>
                  <a:cubicBezTo>
                    <a:pt x="9" y="537"/>
                    <a:pt x="9" y="537"/>
                    <a:pt x="9" y="537"/>
                  </a:cubicBezTo>
                  <a:cubicBezTo>
                    <a:pt x="9" y="537"/>
                    <a:pt x="9" y="537"/>
                    <a:pt x="9" y="537"/>
                  </a:cubicBezTo>
                  <a:cubicBezTo>
                    <a:pt x="11" y="540"/>
                    <a:pt x="13" y="542"/>
                    <a:pt x="16" y="544"/>
                  </a:cubicBezTo>
                  <a:cubicBezTo>
                    <a:pt x="11" y="538"/>
                    <a:pt x="9" y="530"/>
                    <a:pt x="9" y="522"/>
                  </a:cubicBezTo>
                  <a:cubicBezTo>
                    <a:pt x="9" y="208"/>
                    <a:pt x="9" y="208"/>
                    <a:pt x="9" y="208"/>
                  </a:cubicBezTo>
                  <a:cubicBezTo>
                    <a:pt x="323" y="208"/>
                    <a:pt x="323" y="208"/>
                    <a:pt x="323" y="208"/>
                  </a:cubicBezTo>
                  <a:cubicBezTo>
                    <a:pt x="358" y="208"/>
                    <a:pt x="381" y="159"/>
                    <a:pt x="355" y="111"/>
                  </a:cubicBezTo>
                  <a:cubicBezTo>
                    <a:pt x="351" y="102"/>
                    <a:pt x="349" y="93"/>
                    <a:pt x="349" y="84"/>
                  </a:cubicBezTo>
                  <a:cubicBezTo>
                    <a:pt x="349" y="43"/>
                    <a:pt x="395" y="9"/>
                    <a:pt x="451" y="9"/>
                  </a:cubicBezTo>
                  <a:cubicBezTo>
                    <a:pt x="483" y="9"/>
                    <a:pt x="511" y="20"/>
                    <a:pt x="530" y="36"/>
                  </a:cubicBezTo>
                  <a:cubicBezTo>
                    <a:pt x="512" y="15"/>
                    <a:pt x="481" y="1"/>
                    <a:pt x="446" y="0"/>
                  </a:cubicBezTo>
                  <a:cubicBezTo>
                    <a:pt x="446" y="0"/>
                    <a:pt x="446" y="0"/>
                    <a:pt x="446" y="0"/>
                  </a:cubicBezTo>
                  <a:cubicBezTo>
                    <a:pt x="446" y="0"/>
                    <a:pt x="446" y="0"/>
                    <a:pt x="446" y="0"/>
                  </a:cubicBezTo>
                  <a:cubicBezTo>
                    <a:pt x="446" y="0"/>
                    <a:pt x="446" y="0"/>
                    <a:pt x="445" y="0"/>
                  </a:cubicBezTo>
                  <a:cubicBezTo>
                    <a:pt x="445" y="0"/>
                    <a:pt x="445" y="0"/>
                    <a:pt x="445" y="0"/>
                  </a:cubicBezTo>
                  <a:cubicBezTo>
                    <a:pt x="445" y="0"/>
                    <a:pt x="445" y="0"/>
                    <a:pt x="444" y="0"/>
                  </a:cubicBezTo>
                  <a:cubicBezTo>
                    <a:pt x="444" y="0"/>
                    <a:pt x="444" y="0"/>
                    <a:pt x="444" y="0"/>
                  </a:cubicBezTo>
                  <a:cubicBezTo>
                    <a:pt x="444" y="0"/>
                    <a:pt x="444" y="0"/>
                    <a:pt x="444" y="0"/>
                  </a:cubicBezTo>
                  <a:cubicBezTo>
                    <a:pt x="444" y="0"/>
                    <a:pt x="444" y="0"/>
                    <a:pt x="444" y="0"/>
                  </a:cubicBezTo>
                  <a:cubicBezTo>
                    <a:pt x="444" y="0"/>
                    <a:pt x="444" y="0"/>
                    <a:pt x="444" y="0"/>
                  </a:cubicBezTo>
                  <a:cubicBezTo>
                    <a:pt x="444" y="0"/>
                    <a:pt x="443" y="0"/>
                    <a:pt x="443" y="0"/>
                  </a:cubicBezTo>
                  <a:cubicBezTo>
                    <a:pt x="443" y="0"/>
                    <a:pt x="443" y="0"/>
                    <a:pt x="443" y="0"/>
                  </a:cubicBezTo>
                  <a:cubicBezTo>
                    <a:pt x="443" y="0"/>
                    <a:pt x="443" y="0"/>
                    <a:pt x="443" y="0"/>
                  </a:cubicBezTo>
                  <a:cubicBezTo>
                    <a:pt x="443" y="0"/>
                    <a:pt x="443" y="0"/>
                    <a:pt x="443" y="0"/>
                  </a:cubicBezTo>
                  <a:cubicBezTo>
                    <a:pt x="443" y="0"/>
                    <a:pt x="443" y="0"/>
                    <a:pt x="443" y="0"/>
                  </a:cubicBezTo>
                  <a:cubicBezTo>
                    <a:pt x="442" y="0"/>
                    <a:pt x="442" y="0"/>
                    <a:pt x="442" y="0"/>
                  </a:cubicBezTo>
                  <a:cubicBezTo>
                    <a:pt x="442" y="0"/>
                    <a:pt x="442" y="0"/>
                    <a:pt x="442" y="0"/>
                  </a:cubicBez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81"/>
            <p:cNvSpPr>
              <a:spLocks/>
            </p:cNvSpPr>
            <p:nvPr/>
          </p:nvSpPr>
          <p:spPr bwMode="auto">
            <a:xfrm>
              <a:off x="8818563" y="4939027"/>
              <a:ext cx="269875" cy="12700"/>
            </a:xfrm>
            <a:custGeom>
              <a:avLst/>
              <a:gdLst>
                <a:gd name="T0" fmla="*/ 0 w 336"/>
                <a:gd name="T1" fmla="*/ 0 h 16"/>
                <a:gd name="T2" fmla="*/ 31 w 336"/>
                <a:gd name="T3" fmla="*/ 16 h 16"/>
                <a:gd name="T4" fmla="*/ 336 w 336"/>
                <a:gd name="T5" fmla="*/ 16 h 16"/>
                <a:gd name="T6" fmla="*/ 336 w 336"/>
                <a:gd name="T7" fmla="*/ 7 h 16"/>
                <a:gd name="T8" fmla="*/ 22 w 336"/>
                <a:gd name="T9" fmla="*/ 7 h 16"/>
                <a:gd name="T10" fmla="*/ 22 w 336"/>
                <a:gd name="T11" fmla="*/ 7 h 16"/>
                <a:gd name="T12" fmla="*/ 22 w 336"/>
                <a:gd name="T13" fmla="*/ 7 h 16"/>
                <a:gd name="T14" fmla="*/ 22 w 336"/>
                <a:gd name="T15" fmla="*/ 7 h 16"/>
                <a:gd name="T16" fmla="*/ 22 w 336"/>
                <a:gd name="T17" fmla="*/ 7 h 16"/>
                <a:gd name="T18" fmla="*/ 21 w 336"/>
                <a:gd name="T19" fmla="*/ 7 h 16"/>
                <a:gd name="T20" fmla="*/ 21 w 336"/>
                <a:gd name="T21" fmla="*/ 7 h 16"/>
                <a:gd name="T22" fmla="*/ 0 w 336"/>
                <a:gd name="T2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6" h="16">
                  <a:moveTo>
                    <a:pt x="0" y="0"/>
                  </a:moveTo>
                  <a:cubicBezTo>
                    <a:pt x="8" y="10"/>
                    <a:pt x="18" y="16"/>
                    <a:pt x="31" y="16"/>
                  </a:cubicBezTo>
                  <a:cubicBezTo>
                    <a:pt x="336" y="16"/>
                    <a:pt x="336" y="16"/>
                    <a:pt x="336" y="16"/>
                  </a:cubicBezTo>
                  <a:cubicBezTo>
                    <a:pt x="336" y="7"/>
                    <a:pt x="336" y="7"/>
                    <a:pt x="336" y="7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13" y="7"/>
                    <a:pt x="6" y="4"/>
                    <a:pt x="0" y="0"/>
                  </a:cubicBez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83"/>
            <p:cNvSpPr>
              <a:spLocks/>
            </p:cNvSpPr>
            <p:nvPr/>
          </p:nvSpPr>
          <p:spPr bwMode="auto">
            <a:xfrm>
              <a:off x="8375650" y="5237477"/>
              <a:ext cx="166688" cy="420687"/>
            </a:xfrm>
            <a:custGeom>
              <a:avLst/>
              <a:gdLst>
                <a:gd name="T0" fmla="*/ 172 w 207"/>
                <a:gd name="T1" fmla="*/ 0 h 521"/>
                <a:gd name="T2" fmla="*/ 198 w 207"/>
                <a:gd name="T3" fmla="*/ 73 h 521"/>
                <a:gd name="T4" fmla="*/ 198 w 207"/>
                <a:gd name="T5" fmla="*/ 73 h 521"/>
                <a:gd name="T6" fmla="*/ 198 w 207"/>
                <a:gd name="T7" fmla="*/ 73 h 521"/>
                <a:gd name="T8" fmla="*/ 198 w 207"/>
                <a:gd name="T9" fmla="*/ 73 h 521"/>
                <a:gd name="T10" fmla="*/ 198 w 207"/>
                <a:gd name="T11" fmla="*/ 74 h 521"/>
                <a:gd name="T12" fmla="*/ 198 w 207"/>
                <a:gd name="T13" fmla="*/ 74 h 521"/>
                <a:gd name="T14" fmla="*/ 198 w 207"/>
                <a:gd name="T15" fmla="*/ 74 h 521"/>
                <a:gd name="T16" fmla="*/ 198 w 207"/>
                <a:gd name="T17" fmla="*/ 74 h 521"/>
                <a:gd name="T18" fmla="*/ 198 w 207"/>
                <a:gd name="T19" fmla="*/ 74 h 521"/>
                <a:gd name="T20" fmla="*/ 198 w 207"/>
                <a:gd name="T21" fmla="*/ 75 h 521"/>
                <a:gd name="T22" fmla="*/ 198 w 207"/>
                <a:gd name="T23" fmla="*/ 75 h 521"/>
                <a:gd name="T24" fmla="*/ 198 w 207"/>
                <a:gd name="T25" fmla="*/ 75 h 521"/>
                <a:gd name="T26" fmla="*/ 198 w 207"/>
                <a:gd name="T27" fmla="*/ 76 h 521"/>
                <a:gd name="T28" fmla="*/ 198 w 207"/>
                <a:gd name="T29" fmla="*/ 76 h 521"/>
                <a:gd name="T30" fmla="*/ 198 w 207"/>
                <a:gd name="T31" fmla="*/ 76 h 521"/>
                <a:gd name="T32" fmla="*/ 198 w 207"/>
                <a:gd name="T33" fmla="*/ 76 h 521"/>
                <a:gd name="T34" fmla="*/ 198 w 207"/>
                <a:gd name="T35" fmla="*/ 76 h 521"/>
                <a:gd name="T36" fmla="*/ 198 w 207"/>
                <a:gd name="T37" fmla="*/ 76 h 521"/>
                <a:gd name="T38" fmla="*/ 198 w 207"/>
                <a:gd name="T39" fmla="*/ 77 h 521"/>
                <a:gd name="T40" fmla="*/ 198 w 207"/>
                <a:gd name="T41" fmla="*/ 77 h 521"/>
                <a:gd name="T42" fmla="*/ 198 w 207"/>
                <a:gd name="T43" fmla="*/ 77 h 521"/>
                <a:gd name="T44" fmla="*/ 198 w 207"/>
                <a:gd name="T45" fmla="*/ 77 h 521"/>
                <a:gd name="T46" fmla="*/ 198 w 207"/>
                <a:gd name="T47" fmla="*/ 77 h 521"/>
                <a:gd name="T48" fmla="*/ 198 w 207"/>
                <a:gd name="T49" fmla="*/ 77 h 521"/>
                <a:gd name="T50" fmla="*/ 198 w 207"/>
                <a:gd name="T51" fmla="*/ 78 h 521"/>
                <a:gd name="T52" fmla="*/ 198 w 207"/>
                <a:gd name="T53" fmla="*/ 78 h 521"/>
                <a:gd name="T54" fmla="*/ 198 w 207"/>
                <a:gd name="T55" fmla="*/ 78 h 521"/>
                <a:gd name="T56" fmla="*/ 198 w 207"/>
                <a:gd name="T57" fmla="*/ 78 h 521"/>
                <a:gd name="T58" fmla="*/ 198 w 207"/>
                <a:gd name="T59" fmla="*/ 79 h 521"/>
                <a:gd name="T60" fmla="*/ 198 w 207"/>
                <a:gd name="T61" fmla="*/ 79 h 521"/>
                <a:gd name="T62" fmla="*/ 198 w 207"/>
                <a:gd name="T63" fmla="*/ 79 h 521"/>
                <a:gd name="T64" fmla="*/ 198 w 207"/>
                <a:gd name="T65" fmla="*/ 79 h 521"/>
                <a:gd name="T66" fmla="*/ 124 w 207"/>
                <a:gd name="T67" fmla="*/ 181 h 521"/>
                <a:gd name="T68" fmla="*/ 97 w 207"/>
                <a:gd name="T69" fmla="*/ 174 h 521"/>
                <a:gd name="T70" fmla="*/ 55 w 207"/>
                <a:gd name="T71" fmla="*/ 164 h 521"/>
                <a:gd name="T72" fmla="*/ 0 w 207"/>
                <a:gd name="T73" fmla="*/ 207 h 521"/>
                <a:gd name="T74" fmla="*/ 0 w 207"/>
                <a:gd name="T75" fmla="*/ 521 h 521"/>
                <a:gd name="T76" fmla="*/ 9 w 207"/>
                <a:gd name="T77" fmla="*/ 521 h 521"/>
                <a:gd name="T78" fmla="*/ 9 w 207"/>
                <a:gd name="T79" fmla="*/ 216 h 521"/>
                <a:gd name="T80" fmla="*/ 65 w 207"/>
                <a:gd name="T81" fmla="*/ 173 h 521"/>
                <a:gd name="T82" fmla="*/ 106 w 207"/>
                <a:gd name="T83" fmla="*/ 183 h 521"/>
                <a:gd name="T84" fmla="*/ 133 w 207"/>
                <a:gd name="T85" fmla="*/ 190 h 521"/>
                <a:gd name="T86" fmla="*/ 207 w 207"/>
                <a:gd name="T87" fmla="*/ 88 h 521"/>
                <a:gd name="T88" fmla="*/ 172 w 207"/>
                <a:gd name="T89" fmla="*/ 0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7" h="521">
                  <a:moveTo>
                    <a:pt x="172" y="0"/>
                  </a:moveTo>
                  <a:cubicBezTo>
                    <a:pt x="187" y="18"/>
                    <a:pt x="197" y="44"/>
                    <a:pt x="198" y="73"/>
                  </a:cubicBezTo>
                  <a:cubicBezTo>
                    <a:pt x="198" y="73"/>
                    <a:pt x="198" y="73"/>
                    <a:pt x="198" y="73"/>
                  </a:cubicBezTo>
                  <a:cubicBezTo>
                    <a:pt x="198" y="73"/>
                    <a:pt x="198" y="73"/>
                    <a:pt x="198" y="73"/>
                  </a:cubicBezTo>
                  <a:cubicBezTo>
                    <a:pt x="198" y="73"/>
                    <a:pt x="198" y="73"/>
                    <a:pt x="198" y="73"/>
                  </a:cubicBezTo>
                  <a:cubicBezTo>
                    <a:pt x="198" y="74"/>
                    <a:pt x="198" y="74"/>
                    <a:pt x="198" y="74"/>
                  </a:cubicBezTo>
                  <a:cubicBezTo>
                    <a:pt x="198" y="74"/>
                    <a:pt x="198" y="74"/>
                    <a:pt x="198" y="74"/>
                  </a:cubicBezTo>
                  <a:cubicBezTo>
                    <a:pt x="198" y="74"/>
                    <a:pt x="198" y="74"/>
                    <a:pt x="198" y="74"/>
                  </a:cubicBezTo>
                  <a:cubicBezTo>
                    <a:pt x="198" y="74"/>
                    <a:pt x="198" y="74"/>
                    <a:pt x="198" y="74"/>
                  </a:cubicBezTo>
                  <a:cubicBezTo>
                    <a:pt x="198" y="74"/>
                    <a:pt x="198" y="74"/>
                    <a:pt x="198" y="74"/>
                  </a:cubicBezTo>
                  <a:cubicBezTo>
                    <a:pt x="198" y="74"/>
                    <a:pt x="198" y="74"/>
                    <a:pt x="198" y="75"/>
                  </a:cubicBezTo>
                  <a:cubicBezTo>
                    <a:pt x="198" y="75"/>
                    <a:pt x="198" y="75"/>
                    <a:pt x="198" y="75"/>
                  </a:cubicBezTo>
                  <a:cubicBezTo>
                    <a:pt x="198" y="75"/>
                    <a:pt x="198" y="75"/>
                    <a:pt x="198" y="75"/>
                  </a:cubicBezTo>
                  <a:cubicBezTo>
                    <a:pt x="198" y="75"/>
                    <a:pt x="198" y="75"/>
                    <a:pt x="198" y="76"/>
                  </a:cubicBezTo>
                  <a:cubicBezTo>
                    <a:pt x="198" y="76"/>
                    <a:pt x="198" y="76"/>
                    <a:pt x="198" y="76"/>
                  </a:cubicBezTo>
                  <a:cubicBezTo>
                    <a:pt x="198" y="76"/>
                    <a:pt x="198" y="76"/>
                    <a:pt x="198" y="76"/>
                  </a:cubicBezTo>
                  <a:cubicBezTo>
                    <a:pt x="198" y="76"/>
                    <a:pt x="198" y="76"/>
                    <a:pt x="198" y="76"/>
                  </a:cubicBezTo>
                  <a:cubicBezTo>
                    <a:pt x="198" y="76"/>
                    <a:pt x="198" y="76"/>
                    <a:pt x="198" y="76"/>
                  </a:cubicBezTo>
                  <a:cubicBezTo>
                    <a:pt x="198" y="76"/>
                    <a:pt x="198" y="76"/>
                    <a:pt x="198" y="76"/>
                  </a:cubicBezTo>
                  <a:cubicBezTo>
                    <a:pt x="198" y="76"/>
                    <a:pt x="198" y="77"/>
                    <a:pt x="198" y="77"/>
                  </a:cubicBezTo>
                  <a:cubicBezTo>
                    <a:pt x="198" y="77"/>
                    <a:pt x="198" y="77"/>
                    <a:pt x="198" y="77"/>
                  </a:cubicBezTo>
                  <a:cubicBezTo>
                    <a:pt x="198" y="77"/>
                    <a:pt x="198" y="77"/>
                    <a:pt x="198" y="77"/>
                  </a:cubicBezTo>
                  <a:cubicBezTo>
                    <a:pt x="198" y="77"/>
                    <a:pt x="198" y="77"/>
                    <a:pt x="198" y="77"/>
                  </a:cubicBezTo>
                  <a:cubicBezTo>
                    <a:pt x="198" y="77"/>
                    <a:pt x="198" y="77"/>
                    <a:pt x="198" y="77"/>
                  </a:cubicBezTo>
                  <a:cubicBezTo>
                    <a:pt x="198" y="77"/>
                    <a:pt x="198" y="77"/>
                    <a:pt x="198" y="77"/>
                  </a:cubicBezTo>
                  <a:cubicBezTo>
                    <a:pt x="198" y="78"/>
                    <a:pt x="198" y="78"/>
                    <a:pt x="198" y="78"/>
                  </a:cubicBezTo>
                  <a:cubicBezTo>
                    <a:pt x="198" y="78"/>
                    <a:pt x="198" y="78"/>
                    <a:pt x="198" y="78"/>
                  </a:cubicBezTo>
                  <a:cubicBezTo>
                    <a:pt x="198" y="78"/>
                    <a:pt x="198" y="78"/>
                    <a:pt x="198" y="78"/>
                  </a:cubicBezTo>
                  <a:cubicBezTo>
                    <a:pt x="198" y="78"/>
                    <a:pt x="198" y="78"/>
                    <a:pt x="198" y="78"/>
                  </a:cubicBezTo>
                  <a:cubicBezTo>
                    <a:pt x="198" y="78"/>
                    <a:pt x="198" y="78"/>
                    <a:pt x="198" y="79"/>
                  </a:cubicBezTo>
                  <a:cubicBezTo>
                    <a:pt x="198" y="79"/>
                    <a:pt x="198" y="79"/>
                    <a:pt x="198" y="79"/>
                  </a:cubicBezTo>
                  <a:cubicBezTo>
                    <a:pt x="198" y="79"/>
                    <a:pt x="198" y="79"/>
                    <a:pt x="198" y="79"/>
                  </a:cubicBezTo>
                  <a:cubicBezTo>
                    <a:pt x="198" y="79"/>
                    <a:pt x="198" y="79"/>
                    <a:pt x="198" y="79"/>
                  </a:cubicBezTo>
                  <a:cubicBezTo>
                    <a:pt x="198" y="135"/>
                    <a:pt x="165" y="181"/>
                    <a:pt x="124" y="181"/>
                  </a:cubicBezTo>
                  <a:cubicBezTo>
                    <a:pt x="114" y="181"/>
                    <a:pt x="105" y="179"/>
                    <a:pt x="97" y="174"/>
                  </a:cubicBezTo>
                  <a:cubicBezTo>
                    <a:pt x="83" y="167"/>
                    <a:pt x="69" y="164"/>
                    <a:pt x="55" y="164"/>
                  </a:cubicBezTo>
                  <a:cubicBezTo>
                    <a:pt x="24" y="164"/>
                    <a:pt x="0" y="182"/>
                    <a:pt x="0" y="207"/>
                  </a:cubicBezTo>
                  <a:cubicBezTo>
                    <a:pt x="0" y="521"/>
                    <a:pt x="0" y="521"/>
                    <a:pt x="0" y="521"/>
                  </a:cubicBezTo>
                  <a:cubicBezTo>
                    <a:pt x="9" y="521"/>
                    <a:pt x="9" y="521"/>
                    <a:pt x="9" y="521"/>
                  </a:cubicBezTo>
                  <a:cubicBezTo>
                    <a:pt x="9" y="216"/>
                    <a:pt x="9" y="216"/>
                    <a:pt x="9" y="216"/>
                  </a:cubicBezTo>
                  <a:cubicBezTo>
                    <a:pt x="9" y="191"/>
                    <a:pt x="33" y="173"/>
                    <a:pt x="65" y="173"/>
                  </a:cubicBezTo>
                  <a:cubicBezTo>
                    <a:pt x="78" y="173"/>
                    <a:pt x="92" y="176"/>
                    <a:pt x="106" y="183"/>
                  </a:cubicBezTo>
                  <a:cubicBezTo>
                    <a:pt x="115" y="188"/>
                    <a:pt x="123" y="190"/>
                    <a:pt x="133" y="190"/>
                  </a:cubicBezTo>
                  <a:cubicBezTo>
                    <a:pt x="174" y="190"/>
                    <a:pt x="207" y="144"/>
                    <a:pt x="207" y="88"/>
                  </a:cubicBezTo>
                  <a:cubicBezTo>
                    <a:pt x="207" y="51"/>
                    <a:pt x="193" y="18"/>
                    <a:pt x="172" y="0"/>
                  </a:cubicBez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Freeform 85"/>
            <p:cNvSpPr>
              <a:spLocks/>
            </p:cNvSpPr>
            <p:nvPr/>
          </p:nvSpPr>
          <p:spPr bwMode="auto">
            <a:xfrm>
              <a:off x="8958263" y="5370827"/>
              <a:ext cx="123825" cy="20637"/>
            </a:xfrm>
            <a:custGeom>
              <a:avLst/>
              <a:gdLst>
                <a:gd name="T0" fmla="*/ 107 w 155"/>
                <a:gd name="T1" fmla="*/ 0 h 26"/>
                <a:gd name="T2" fmla="*/ 65 w 155"/>
                <a:gd name="T3" fmla="*/ 10 h 26"/>
                <a:gd name="T4" fmla="*/ 65 w 155"/>
                <a:gd name="T5" fmla="*/ 10 h 26"/>
                <a:gd name="T6" fmla="*/ 39 w 155"/>
                <a:gd name="T7" fmla="*/ 17 h 26"/>
                <a:gd name="T8" fmla="*/ 38 w 155"/>
                <a:gd name="T9" fmla="*/ 17 h 26"/>
                <a:gd name="T10" fmla="*/ 38 w 155"/>
                <a:gd name="T11" fmla="*/ 17 h 26"/>
                <a:gd name="T12" fmla="*/ 38 w 155"/>
                <a:gd name="T13" fmla="*/ 17 h 26"/>
                <a:gd name="T14" fmla="*/ 38 w 155"/>
                <a:gd name="T15" fmla="*/ 17 h 26"/>
                <a:gd name="T16" fmla="*/ 38 w 155"/>
                <a:gd name="T17" fmla="*/ 17 h 26"/>
                <a:gd name="T18" fmla="*/ 38 w 155"/>
                <a:gd name="T19" fmla="*/ 17 h 26"/>
                <a:gd name="T20" fmla="*/ 37 w 155"/>
                <a:gd name="T21" fmla="*/ 17 h 26"/>
                <a:gd name="T22" fmla="*/ 37 w 155"/>
                <a:gd name="T23" fmla="*/ 17 h 26"/>
                <a:gd name="T24" fmla="*/ 37 w 155"/>
                <a:gd name="T25" fmla="*/ 17 h 26"/>
                <a:gd name="T26" fmla="*/ 37 w 155"/>
                <a:gd name="T27" fmla="*/ 17 h 26"/>
                <a:gd name="T28" fmla="*/ 0 w 155"/>
                <a:gd name="T29" fmla="*/ 2 h 26"/>
                <a:gd name="T30" fmla="*/ 48 w 155"/>
                <a:gd name="T31" fmla="*/ 26 h 26"/>
                <a:gd name="T32" fmla="*/ 74 w 155"/>
                <a:gd name="T33" fmla="*/ 19 h 26"/>
                <a:gd name="T34" fmla="*/ 116 w 155"/>
                <a:gd name="T35" fmla="*/ 9 h 26"/>
                <a:gd name="T36" fmla="*/ 155 w 155"/>
                <a:gd name="T37" fmla="*/ 21 h 26"/>
                <a:gd name="T38" fmla="*/ 107 w 155"/>
                <a:gd name="T3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5" h="26">
                  <a:moveTo>
                    <a:pt x="107" y="0"/>
                  </a:moveTo>
                  <a:cubicBezTo>
                    <a:pt x="94" y="0"/>
                    <a:pt x="80" y="3"/>
                    <a:pt x="65" y="10"/>
                  </a:cubicBezTo>
                  <a:cubicBezTo>
                    <a:pt x="65" y="10"/>
                    <a:pt x="65" y="10"/>
                    <a:pt x="65" y="10"/>
                  </a:cubicBezTo>
                  <a:cubicBezTo>
                    <a:pt x="57" y="15"/>
                    <a:pt x="48" y="17"/>
                    <a:pt x="39" y="17"/>
                  </a:cubicBezTo>
                  <a:cubicBezTo>
                    <a:pt x="39" y="17"/>
                    <a:pt x="38" y="17"/>
                    <a:pt x="38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23" y="17"/>
                    <a:pt x="10" y="11"/>
                    <a:pt x="0" y="2"/>
                  </a:cubicBezTo>
                  <a:cubicBezTo>
                    <a:pt x="13" y="17"/>
                    <a:pt x="29" y="26"/>
                    <a:pt x="48" y="26"/>
                  </a:cubicBezTo>
                  <a:cubicBezTo>
                    <a:pt x="57" y="26"/>
                    <a:pt x="66" y="24"/>
                    <a:pt x="74" y="19"/>
                  </a:cubicBezTo>
                  <a:cubicBezTo>
                    <a:pt x="89" y="12"/>
                    <a:pt x="103" y="9"/>
                    <a:pt x="116" y="9"/>
                  </a:cubicBezTo>
                  <a:cubicBezTo>
                    <a:pt x="131" y="9"/>
                    <a:pt x="145" y="13"/>
                    <a:pt x="155" y="21"/>
                  </a:cubicBezTo>
                  <a:cubicBezTo>
                    <a:pt x="146" y="8"/>
                    <a:pt x="128" y="0"/>
                    <a:pt x="107" y="0"/>
                  </a:cubicBez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86"/>
            <p:cNvSpPr>
              <a:spLocks/>
            </p:cNvSpPr>
            <p:nvPr/>
          </p:nvSpPr>
          <p:spPr bwMode="auto">
            <a:xfrm>
              <a:off x="8382000" y="5212077"/>
              <a:ext cx="125413" cy="26987"/>
            </a:xfrm>
            <a:custGeom>
              <a:avLst/>
              <a:gdLst>
                <a:gd name="T0" fmla="*/ 90 w 156"/>
                <a:gd name="T1" fmla="*/ 16 h 35"/>
                <a:gd name="T2" fmla="*/ 117 w 156"/>
                <a:gd name="T3" fmla="*/ 9 h 35"/>
                <a:gd name="T4" fmla="*/ 156 w 156"/>
                <a:gd name="T5" fmla="*/ 24 h 35"/>
                <a:gd name="T6" fmla="*/ 108 w 156"/>
                <a:gd name="T7" fmla="*/ 0 h 35"/>
                <a:gd name="T8" fmla="*/ 81 w 156"/>
                <a:gd name="T9" fmla="*/ 6 h 35"/>
                <a:gd name="T10" fmla="*/ 0 w 156"/>
                <a:gd name="T11" fmla="*/ 5 h 35"/>
                <a:gd name="T12" fmla="*/ 90 w 156"/>
                <a:gd name="T13" fmla="*/ 16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35">
                  <a:moveTo>
                    <a:pt x="90" y="16"/>
                  </a:moveTo>
                  <a:cubicBezTo>
                    <a:pt x="98" y="11"/>
                    <a:pt x="107" y="9"/>
                    <a:pt x="117" y="9"/>
                  </a:cubicBezTo>
                  <a:cubicBezTo>
                    <a:pt x="131" y="9"/>
                    <a:pt x="144" y="14"/>
                    <a:pt x="156" y="24"/>
                  </a:cubicBezTo>
                  <a:cubicBezTo>
                    <a:pt x="143" y="9"/>
                    <a:pt x="126" y="0"/>
                    <a:pt x="108" y="0"/>
                  </a:cubicBezTo>
                  <a:cubicBezTo>
                    <a:pt x="98" y="0"/>
                    <a:pt x="89" y="2"/>
                    <a:pt x="81" y="6"/>
                  </a:cubicBezTo>
                  <a:cubicBezTo>
                    <a:pt x="50" y="22"/>
                    <a:pt x="19" y="19"/>
                    <a:pt x="0" y="5"/>
                  </a:cubicBezTo>
                  <a:cubicBezTo>
                    <a:pt x="16" y="26"/>
                    <a:pt x="53" y="35"/>
                    <a:pt x="90" y="16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Freeform 87"/>
            <p:cNvSpPr>
              <a:spLocks/>
            </p:cNvSpPr>
            <p:nvPr/>
          </p:nvSpPr>
          <p:spPr bwMode="auto">
            <a:xfrm>
              <a:off x="8375650" y="5650227"/>
              <a:ext cx="271463" cy="14287"/>
            </a:xfrm>
            <a:custGeom>
              <a:avLst/>
              <a:gdLst>
                <a:gd name="T0" fmla="*/ 304 w 336"/>
                <a:gd name="T1" fmla="*/ 0 h 17"/>
                <a:gd name="T2" fmla="*/ 0 w 336"/>
                <a:gd name="T3" fmla="*/ 0 h 17"/>
                <a:gd name="T4" fmla="*/ 0 w 336"/>
                <a:gd name="T5" fmla="*/ 9 h 17"/>
                <a:gd name="T6" fmla="*/ 314 w 336"/>
                <a:gd name="T7" fmla="*/ 9 h 17"/>
                <a:gd name="T8" fmla="*/ 336 w 336"/>
                <a:gd name="T9" fmla="*/ 17 h 17"/>
                <a:gd name="T10" fmla="*/ 304 w 336"/>
                <a:gd name="T11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6" h="17">
                  <a:moveTo>
                    <a:pt x="30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314" y="9"/>
                    <a:pt x="314" y="9"/>
                    <a:pt x="314" y="9"/>
                  </a:cubicBezTo>
                  <a:cubicBezTo>
                    <a:pt x="322" y="9"/>
                    <a:pt x="329" y="12"/>
                    <a:pt x="336" y="17"/>
                  </a:cubicBezTo>
                  <a:cubicBezTo>
                    <a:pt x="328" y="6"/>
                    <a:pt x="317" y="0"/>
                    <a:pt x="304" y="0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Freeform 88"/>
            <p:cNvSpPr>
              <a:spLocks/>
            </p:cNvSpPr>
            <p:nvPr/>
          </p:nvSpPr>
          <p:spPr bwMode="auto">
            <a:xfrm>
              <a:off x="8786813" y="4805677"/>
              <a:ext cx="28575" cy="125412"/>
            </a:xfrm>
            <a:custGeom>
              <a:avLst/>
              <a:gdLst>
                <a:gd name="T0" fmla="*/ 30 w 35"/>
                <a:gd name="T1" fmla="*/ 155 h 155"/>
                <a:gd name="T2" fmla="*/ 28 w 35"/>
                <a:gd name="T3" fmla="*/ 74 h 155"/>
                <a:gd name="T4" fmla="*/ 35 w 35"/>
                <a:gd name="T5" fmla="*/ 48 h 155"/>
                <a:gd name="T6" fmla="*/ 11 w 35"/>
                <a:gd name="T7" fmla="*/ 0 h 155"/>
                <a:gd name="T8" fmla="*/ 26 w 35"/>
                <a:gd name="T9" fmla="*/ 39 h 155"/>
                <a:gd name="T10" fmla="*/ 19 w 35"/>
                <a:gd name="T11" fmla="*/ 65 h 155"/>
                <a:gd name="T12" fmla="*/ 30 w 35"/>
                <a:gd name="T13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155">
                  <a:moveTo>
                    <a:pt x="30" y="155"/>
                  </a:moveTo>
                  <a:cubicBezTo>
                    <a:pt x="16" y="137"/>
                    <a:pt x="12" y="105"/>
                    <a:pt x="28" y="74"/>
                  </a:cubicBezTo>
                  <a:cubicBezTo>
                    <a:pt x="33" y="66"/>
                    <a:pt x="35" y="57"/>
                    <a:pt x="35" y="48"/>
                  </a:cubicBezTo>
                  <a:cubicBezTo>
                    <a:pt x="35" y="29"/>
                    <a:pt x="26" y="13"/>
                    <a:pt x="11" y="0"/>
                  </a:cubicBezTo>
                  <a:cubicBezTo>
                    <a:pt x="20" y="11"/>
                    <a:pt x="26" y="24"/>
                    <a:pt x="26" y="39"/>
                  </a:cubicBezTo>
                  <a:cubicBezTo>
                    <a:pt x="26" y="48"/>
                    <a:pt x="23" y="57"/>
                    <a:pt x="19" y="65"/>
                  </a:cubicBezTo>
                  <a:cubicBezTo>
                    <a:pt x="0" y="102"/>
                    <a:pt x="8" y="140"/>
                    <a:pt x="30" y="155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Freeform 89"/>
            <p:cNvSpPr>
              <a:spLocks/>
            </p:cNvSpPr>
            <p:nvPr/>
          </p:nvSpPr>
          <p:spPr bwMode="auto">
            <a:xfrm>
              <a:off x="8921750" y="4943790"/>
              <a:ext cx="166688" cy="420687"/>
            </a:xfrm>
            <a:custGeom>
              <a:avLst/>
              <a:gdLst>
                <a:gd name="T0" fmla="*/ 199 w 208"/>
                <a:gd name="T1" fmla="*/ 0 h 521"/>
                <a:gd name="T2" fmla="*/ 199 w 208"/>
                <a:gd name="T3" fmla="*/ 305 h 521"/>
                <a:gd name="T4" fmla="*/ 101 w 208"/>
                <a:gd name="T5" fmla="*/ 337 h 521"/>
                <a:gd name="T6" fmla="*/ 74 w 208"/>
                <a:gd name="T7" fmla="*/ 331 h 521"/>
                <a:gd name="T8" fmla="*/ 0 w 208"/>
                <a:gd name="T9" fmla="*/ 433 h 521"/>
                <a:gd name="T10" fmla="*/ 35 w 208"/>
                <a:gd name="T11" fmla="*/ 521 h 521"/>
                <a:gd name="T12" fmla="*/ 9 w 208"/>
                <a:gd name="T13" fmla="*/ 443 h 521"/>
                <a:gd name="T14" fmla="*/ 84 w 208"/>
                <a:gd name="T15" fmla="*/ 340 h 521"/>
                <a:gd name="T16" fmla="*/ 110 w 208"/>
                <a:gd name="T17" fmla="*/ 347 h 521"/>
                <a:gd name="T18" fmla="*/ 208 w 208"/>
                <a:gd name="T19" fmla="*/ 314 h 521"/>
                <a:gd name="T20" fmla="*/ 208 w 208"/>
                <a:gd name="T21" fmla="*/ 0 h 521"/>
                <a:gd name="T22" fmla="*/ 199 w 208"/>
                <a:gd name="T23" fmla="*/ 0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08" h="521">
                  <a:moveTo>
                    <a:pt x="199" y="0"/>
                  </a:moveTo>
                  <a:cubicBezTo>
                    <a:pt x="199" y="305"/>
                    <a:pt x="199" y="305"/>
                    <a:pt x="199" y="305"/>
                  </a:cubicBezTo>
                  <a:cubicBezTo>
                    <a:pt x="199" y="340"/>
                    <a:pt x="149" y="363"/>
                    <a:pt x="101" y="337"/>
                  </a:cubicBezTo>
                  <a:cubicBezTo>
                    <a:pt x="93" y="333"/>
                    <a:pt x="84" y="331"/>
                    <a:pt x="74" y="331"/>
                  </a:cubicBezTo>
                  <a:cubicBezTo>
                    <a:pt x="33" y="331"/>
                    <a:pt x="0" y="377"/>
                    <a:pt x="0" y="433"/>
                  </a:cubicBezTo>
                  <a:cubicBezTo>
                    <a:pt x="0" y="470"/>
                    <a:pt x="14" y="503"/>
                    <a:pt x="35" y="521"/>
                  </a:cubicBezTo>
                  <a:cubicBezTo>
                    <a:pt x="19" y="502"/>
                    <a:pt x="9" y="474"/>
                    <a:pt x="9" y="443"/>
                  </a:cubicBezTo>
                  <a:cubicBezTo>
                    <a:pt x="9" y="386"/>
                    <a:pt x="42" y="340"/>
                    <a:pt x="84" y="340"/>
                  </a:cubicBezTo>
                  <a:cubicBezTo>
                    <a:pt x="93" y="340"/>
                    <a:pt x="102" y="342"/>
                    <a:pt x="110" y="347"/>
                  </a:cubicBezTo>
                  <a:cubicBezTo>
                    <a:pt x="158" y="372"/>
                    <a:pt x="208" y="349"/>
                    <a:pt x="208" y="314"/>
                  </a:cubicBezTo>
                  <a:cubicBezTo>
                    <a:pt x="208" y="0"/>
                    <a:pt x="208" y="0"/>
                    <a:pt x="208" y="0"/>
                  </a:cubicBezTo>
                  <a:lnTo>
                    <a:pt x="199" y="0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90"/>
            <p:cNvSpPr>
              <a:spLocks/>
            </p:cNvSpPr>
            <p:nvPr/>
          </p:nvSpPr>
          <p:spPr bwMode="auto">
            <a:xfrm>
              <a:off x="8661400" y="5380352"/>
              <a:ext cx="427038" cy="438150"/>
            </a:xfrm>
            <a:custGeom>
              <a:avLst/>
              <a:gdLst>
                <a:gd name="T0" fmla="*/ 513 w 530"/>
                <a:gd name="T1" fmla="*/ 0 h 544"/>
                <a:gd name="T2" fmla="*/ 521 w 530"/>
                <a:gd name="T3" fmla="*/ 22 h 544"/>
                <a:gd name="T4" fmla="*/ 521 w 530"/>
                <a:gd name="T5" fmla="*/ 336 h 544"/>
                <a:gd name="T6" fmla="*/ 207 w 530"/>
                <a:gd name="T7" fmla="*/ 336 h 544"/>
                <a:gd name="T8" fmla="*/ 174 w 530"/>
                <a:gd name="T9" fmla="*/ 433 h 544"/>
                <a:gd name="T10" fmla="*/ 181 w 530"/>
                <a:gd name="T11" fmla="*/ 460 h 544"/>
                <a:gd name="T12" fmla="*/ 78 w 530"/>
                <a:gd name="T13" fmla="*/ 535 h 544"/>
                <a:gd name="T14" fmla="*/ 0 w 530"/>
                <a:gd name="T15" fmla="*/ 508 h 544"/>
                <a:gd name="T16" fmla="*/ 87 w 530"/>
                <a:gd name="T17" fmla="*/ 544 h 544"/>
                <a:gd name="T18" fmla="*/ 190 w 530"/>
                <a:gd name="T19" fmla="*/ 469 h 544"/>
                <a:gd name="T20" fmla="*/ 183 w 530"/>
                <a:gd name="T21" fmla="*/ 443 h 544"/>
                <a:gd name="T22" fmla="*/ 216 w 530"/>
                <a:gd name="T23" fmla="*/ 345 h 544"/>
                <a:gd name="T24" fmla="*/ 530 w 530"/>
                <a:gd name="T25" fmla="*/ 345 h 544"/>
                <a:gd name="T26" fmla="*/ 530 w 530"/>
                <a:gd name="T27" fmla="*/ 31 h 544"/>
                <a:gd name="T28" fmla="*/ 513 w 530"/>
                <a:gd name="T29" fmla="*/ 0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0" h="544">
                  <a:moveTo>
                    <a:pt x="513" y="0"/>
                  </a:moveTo>
                  <a:cubicBezTo>
                    <a:pt x="518" y="6"/>
                    <a:pt x="521" y="14"/>
                    <a:pt x="521" y="22"/>
                  </a:cubicBezTo>
                  <a:cubicBezTo>
                    <a:pt x="521" y="336"/>
                    <a:pt x="521" y="336"/>
                    <a:pt x="521" y="336"/>
                  </a:cubicBezTo>
                  <a:cubicBezTo>
                    <a:pt x="207" y="336"/>
                    <a:pt x="207" y="336"/>
                    <a:pt x="207" y="336"/>
                  </a:cubicBezTo>
                  <a:cubicBezTo>
                    <a:pt x="171" y="336"/>
                    <a:pt x="149" y="385"/>
                    <a:pt x="174" y="433"/>
                  </a:cubicBezTo>
                  <a:cubicBezTo>
                    <a:pt x="178" y="442"/>
                    <a:pt x="181" y="451"/>
                    <a:pt x="181" y="460"/>
                  </a:cubicBezTo>
                  <a:cubicBezTo>
                    <a:pt x="181" y="501"/>
                    <a:pt x="135" y="535"/>
                    <a:pt x="78" y="535"/>
                  </a:cubicBezTo>
                  <a:cubicBezTo>
                    <a:pt x="47" y="535"/>
                    <a:pt x="18" y="524"/>
                    <a:pt x="0" y="508"/>
                  </a:cubicBezTo>
                  <a:cubicBezTo>
                    <a:pt x="18" y="530"/>
                    <a:pt x="50" y="544"/>
                    <a:pt x="87" y="544"/>
                  </a:cubicBezTo>
                  <a:cubicBezTo>
                    <a:pt x="144" y="544"/>
                    <a:pt x="190" y="510"/>
                    <a:pt x="190" y="469"/>
                  </a:cubicBezTo>
                  <a:cubicBezTo>
                    <a:pt x="190" y="460"/>
                    <a:pt x="188" y="451"/>
                    <a:pt x="183" y="443"/>
                  </a:cubicBezTo>
                  <a:cubicBezTo>
                    <a:pt x="158" y="394"/>
                    <a:pt x="181" y="345"/>
                    <a:pt x="216" y="345"/>
                  </a:cubicBezTo>
                  <a:cubicBezTo>
                    <a:pt x="530" y="345"/>
                    <a:pt x="530" y="345"/>
                    <a:pt x="530" y="345"/>
                  </a:cubicBezTo>
                  <a:cubicBezTo>
                    <a:pt x="530" y="31"/>
                    <a:pt x="530" y="31"/>
                    <a:pt x="530" y="31"/>
                  </a:cubicBezTo>
                  <a:cubicBezTo>
                    <a:pt x="530" y="19"/>
                    <a:pt x="523" y="8"/>
                    <a:pt x="513" y="0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18" name="Group 25"/>
          <p:cNvGrpSpPr/>
          <p:nvPr/>
        </p:nvGrpSpPr>
        <p:grpSpPr>
          <a:xfrm>
            <a:off x="10515816" y="4536861"/>
            <a:ext cx="756523" cy="1092009"/>
            <a:chOff x="10644237" y="4783452"/>
            <a:chExt cx="715963" cy="1033463"/>
          </a:xfrm>
        </p:grpSpPr>
        <p:sp>
          <p:nvSpPr>
            <p:cNvPr id="219" name="Freeform 167"/>
            <p:cNvSpPr>
              <a:spLocks/>
            </p:cNvSpPr>
            <p:nvPr/>
          </p:nvSpPr>
          <p:spPr bwMode="auto">
            <a:xfrm>
              <a:off x="10647412" y="4783452"/>
              <a:ext cx="712788" cy="1033462"/>
            </a:xfrm>
            <a:custGeom>
              <a:avLst/>
              <a:gdLst>
                <a:gd name="T0" fmla="*/ 340 w 885"/>
                <a:gd name="T1" fmla="*/ 74 h 1282"/>
                <a:gd name="T2" fmla="*/ 347 w 885"/>
                <a:gd name="T3" fmla="*/ 101 h 1282"/>
                <a:gd name="T4" fmla="*/ 314 w 885"/>
                <a:gd name="T5" fmla="*/ 199 h 1282"/>
                <a:gd name="T6" fmla="*/ 0 w 885"/>
                <a:gd name="T7" fmla="*/ 199 h 1282"/>
                <a:gd name="T8" fmla="*/ 0 w 885"/>
                <a:gd name="T9" fmla="*/ 513 h 1282"/>
                <a:gd name="T10" fmla="*/ 98 w 885"/>
                <a:gd name="T11" fmla="*/ 545 h 1282"/>
                <a:gd name="T12" fmla="*/ 124 w 885"/>
                <a:gd name="T13" fmla="*/ 539 h 1282"/>
                <a:gd name="T14" fmla="*/ 199 w 885"/>
                <a:gd name="T15" fmla="*/ 641 h 1282"/>
                <a:gd name="T16" fmla="*/ 124 w 885"/>
                <a:gd name="T17" fmla="*/ 744 h 1282"/>
                <a:gd name="T18" fmla="*/ 98 w 885"/>
                <a:gd name="T19" fmla="*/ 737 h 1282"/>
                <a:gd name="T20" fmla="*/ 0 w 885"/>
                <a:gd name="T21" fmla="*/ 770 h 1282"/>
                <a:gd name="T22" fmla="*/ 0 w 885"/>
                <a:gd name="T23" fmla="*/ 1084 h 1282"/>
                <a:gd name="T24" fmla="*/ 314 w 885"/>
                <a:gd name="T25" fmla="*/ 1084 h 1282"/>
                <a:gd name="T26" fmla="*/ 347 w 885"/>
                <a:gd name="T27" fmla="*/ 1181 h 1282"/>
                <a:gd name="T28" fmla="*/ 340 w 885"/>
                <a:gd name="T29" fmla="*/ 1208 h 1282"/>
                <a:gd name="T30" fmla="*/ 443 w 885"/>
                <a:gd name="T31" fmla="*/ 1282 h 1282"/>
                <a:gd name="T32" fmla="*/ 545 w 885"/>
                <a:gd name="T33" fmla="*/ 1208 h 1282"/>
                <a:gd name="T34" fmla="*/ 539 w 885"/>
                <a:gd name="T35" fmla="*/ 1181 h 1282"/>
                <a:gd name="T36" fmla="*/ 571 w 885"/>
                <a:gd name="T37" fmla="*/ 1084 h 1282"/>
                <a:gd name="T38" fmla="*/ 885 w 885"/>
                <a:gd name="T39" fmla="*/ 1084 h 1282"/>
                <a:gd name="T40" fmla="*/ 885 w 885"/>
                <a:gd name="T41" fmla="*/ 770 h 1282"/>
                <a:gd name="T42" fmla="*/ 788 w 885"/>
                <a:gd name="T43" fmla="*/ 737 h 1282"/>
                <a:gd name="T44" fmla="*/ 761 w 885"/>
                <a:gd name="T45" fmla="*/ 744 h 1282"/>
                <a:gd name="T46" fmla="*/ 686 w 885"/>
                <a:gd name="T47" fmla="*/ 641 h 1282"/>
                <a:gd name="T48" fmla="*/ 761 w 885"/>
                <a:gd name="T49" fmla="*/ 539 h 1282"/>
                <a:gd name="T50" fmla="*/ 788 w 885"/>
                <a:gd name="T51" fmla="*/ 545 h 1282"/>
                <a:gd name="T52" fmla="*/ 885 w 885"/>
                <a:gd name="T53" fmla="*/ 513 h 1282"/>
                <a:gd name="T54" fmla="*/ 885 w 885"/>
                <a:gd name="T55" fmla="*/ 199 h 1282"/>
                <a:gd name="T56" fmla="*/ 571 w 885"/>
                <a:gd name="T57" fmla="*/ 199 h 1282"/>
                <a:gd name="T58" fmla="*/ 539 w 885"/>
                <a:gd name="T59" fmla="*/ 101 h 1282"/>
                <a:gd name="T60" fmla="*/ 545 w 885"/>
                <a:gd name="T61" fmla="*/ 74 h 1282"/>
                <a:gd name="T62" fmla="*/ 443 w 885"/>
                <a:gd name="T63" fmla="*/ 0 h 1282"/>
                <a:gd name="T64" fmla="*/ 340 w 885"/>
                <a:gd name="T65" fmla="*/ 74 h 1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85" h="1282">
                  <a:moveTo>
                    <a:pt x="340" y="74"/>
                  </a:moveTo>
                  <a:cubicBezTo>
                    <a:pt x="340" y="84"/>
                    <a:pt x="342" y="93"/>
                    <a:pt x="347" y="101"/>
                  </a:cubicBezTo>
                  <a:cubicBezTo>
                    <a:pt x="372" y="149"/>
                    <a:pt x="349" y="199"/>
                    <a:pt x="314" y="199"/>
                  </a:cubicBezTo>
                  <a:cubicBezTo>
                    <a:pt x="0" y="199"/>
                    <a:pt x="0" y="199"/>
                    <a:pt x="0" y="199"/>
                  </a:cubicBezTo>
                  <a:cubicBezTo>
                    <a:pt x="0" y="513"/>
                    <a:pt x="0" y="513"/>
                    <a:pt x="0" y="513"/>
                  </a:cubicBezTo>
                  <a:cubicBezTo>
                    <a:pt x="0" y="548"/>
                    <a:pt x="49" y="570"/>
                    <a:pt x="98" y="545"/>
                  </a:cubicBezTo>
                  <a:cubicBezTo>
                    <a:pt x="106" y="541"/>
                    <a:pt x="115" y="539"/>
                    <a:pt x="124" y="539"/>
                  </a:cubicBezTo>
                  <a:cubicBezTo>
                    <a:pt x="165" y="539"/>
                    <a:pt x="199" y="584"/>
                    <a:pt x="199" y="641"/>
                  </a:cubicBezTo>
                  <a:cubicBezTo>
                    <a:pt x="199" y="698"/>
                    <a:pt x="165" y="744"/>
                    <a:pt x="124" y="744"/>
                  </a:cubicBezTo>
                  <a:cubicBezTo>
                    <a:pt x="115" y="744"/>
                    <a:pt x="106" y="742"/>
                    <a:pt x="98" y="737"/>
                  </a:cubicBezTo>
                  <a:cubicBezTo>
                    <a:pt x="49" y="712"/>
                    <a:pt x="0" y="735"/>
                    <a:pt x="0" y="770"/>
                  </a:cubicBezTo>
                  <a:cubicBezTo>
                    <a:pt x="0" y="1084"/>
                    <a:pt x="0" y="1084"/>
                    <a:pt x="0" y="1084"/>
                  </a:cubicBezTo>
                  <a:cubicBezTo>
                    <a:pt x="314" y="1084"/>
                    <a:pt x="314" y="1084"/>
                    <a:pt x="314" y="1084"/>
                  </a:cubicBezTo>
                  <a:cubicBezTo>
                    <a:pt x="349" y="1084"/>
                    <a:pt x="372" y="1133"/>
                    <a:pt x="347" y="1181"/>
                  </a:cubicBezTo>
                  <a:cubicBezTo>
                    <a:pt x="342" y="1190"/>
                    <a:pt x="340" y="1199"/>
                    <a:pt x="340" y="1208"/>
                  </a:cubicBezTo>
                  <a:cubicBezTo>
                    <a:pt x="340" y="1249"/>
                    <a:pt x="386" y="1282"/>
                    <a:pt x="443" y="1282"/>
                  </a:cubicBezTo>
                  <a:cubicBezTo>
                    <a:pt x="499" y="1282"/>
                    <a:pt x="545" y="1249"/>
                    <a:pt x="545" y="1208"/>
                  </a:cubicBezTo>
                  <a:cubicBezTo>
                    <a:pt x="545" y="1199"/>
                    <a:pt x="543" y="1190"/>
                    <a:pt x="539" y="1181"/>
                  </a:cubicBezTo>
                  <a:cubicBezTo>
                    <a:pt x="513" y="1133"/>
                    <a:pt x="536" y="1084"/>
                    <a:pt x="571" y="1084"/>
                  </a:cubicBezTo>
                  <a:cubicBezTo>
                    <a:pt x="885" y="1084"/>
                    <a:pt x="885" y="1084"/>
                    <a:pt x="885" y="1084"/>
                  </a:cubicBezTo>
                  <a:cubicBezTo>
                    <a:pt x="885" y="770"/>
                    <a:pt x="885" y="770"/>
                    <a:pt x="885" y="770"/>
                  </a:cubicBezTo>
                  <a:cubicBezTo>
                    <a:pt x="885" y="735"/>
                    <a:pt x="836" y="712"/>
                    <a:pt x="788" y="737"/>
                  </a:cubicBezTo>
                  <a:cubicBezTo>
                    <a:pt x="779" y="742"/>
                    <a:pt x="770" y="744"/>
                    <a:pt x="761" y="744"/>
                  </a:cubicBezTo>
                  <a:cubicBezTo>
                    <a:pt x="720" y="744"/>
                    <a:pt x="686" y="698"/>
                    <a:pt x="686" y="641"/>
                  </a:cubicBezTo>
                  <a:cubicBezTo>
                    <a:pt x="686" y="584"/>
                    <a:pt x="720" y="539"/>
                    <a:pt x="761" y="539"/>
                  </a:cubicBezTo>
                  <a:cubicBezTo>
                    <a:pt x="770" y="539"/>
                    <a:pt x="779" y="541"/>
                    <a:pt x="788" y="545"/>
                  </a:cubicBezTo>
                  <a:cubicBezTo>
                    <a:pt x="836" y="570"/>
                    <a:pt x="885" y="548"/>
                    <a:pt x="885" y="513"/>
                  </a:cubicBezTo>
                  <a:cubicBezTo>
                    <a:pt x="885" y="199"/>
                    <a:pt x="885" y="199"/>
                    <a:pt x="885" y="199"/>
                  </a:cubicBezTo>
                  <a:cubicBezTo>
                    <a:pt x="571" y="199"/>
                    <a:pt x="571" y="199"/>
                    <a:pt x="571" y="199"/>
                  </a:cubicBezTo>
                  <a:cubicBezTo>
                    <a:pt x="536" y="199"/>
                    <a:pt x="513" y="149"/>
                    <a:pt x="539" y="101"/>
                  </a:cubicBezTo>
                  <a:cubicBezTo>
                    <a:pt x="543" y="93"/>
                    <a:pt x="545" y="84"/>
                    <a:pt x="545" y="74"/>
                  </a:cubicBezTo>
                  <a:cubicBezTo>
                    <a:pt x="545" y="33"/>
                    <a:pt x="499" y="0"/>
                    <a:pt x="443" y="0"/>
                  </a:cubicBezTo>
                  <a:cubicBezTo>
                    <a:pt x="386" y="0"/>
                    <a:pt x="340" y="33"/>
                    <a:pt x="340" y="74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Freeform 168"/>
            <p:cNvSpPr>
              <a:spLocks/>
            </p:cNvSpPr>
            <p:nvPr/>
          </p:nvSpPr>
          <p:spPr bwMode="auto">
            <a:xfrm>
              <a:off x="10917287" y="5670865"/>
              <a:ext cx="28575" cy="125412"/>
            </a:xfrm>
            <a:custGeom>
              <a:avLst/>
              <a:gdLst>
                <a:gd name="T0" fmla="*/ 5 w 35"/>
                <a:gd name="T1" fmla="*/ 0 h 156"/>
                <a:gd name="T2" fmla="*/ 7 w 35"/>
                <a:gd name="T3" fmla="*/ 81 h 156"/>
                <a:gd name="T4" fmla="*/ 0 w 35"/>
                <a:gd name="T5" fmla="*/ 108 h 156"/>
                <a:gd name="T6" fmla="*/ 24 w 35"/>
                <a:gd name="T7" fmla="*/ 156 h 156"/>
                <a:gd name="T8" fmla="*/ 9 w 35"/>
                <a:gd name="T9" fmla="*/ 117 h 156"/>
                <a:gd name="T10" fmla="*/ 16 w 35"/>
                <a:gd name="T11" fmla="*/ 90 h 156"/>
                <a:gd name="T12" fmla="*/ 5 w 35"/>
                <a:gd name="T13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156">
                  <a:moveTo>
                    <a:pt x="5" y="0"/>
                  </a:moveTo>
                  <a:cubicBezTo>
                    <a:pt x="19" y="19"/>
                    <a:pt x="23" y="50"/>
                    <a:pt x="7" y="81"/>
                  </a:cubicBezTo>
                  <a:cubicBezTo>
                    <a:pt x="2" y="90"/>
                    <a:pt x="0" y="99"/>
                    <a:pt x="0" y="108"/>
                  </a:cubicBezTo>
                  <a:cubicBezTo>
                    <a:pt x="0" y="126"/>
                    <a:pt x="9" y="143"/>
                    <a:pt x="24" y="156"/>
                  </a:cubicBezTo>
                  <a:cubicBezTo>
                    <a:pt x="14" y="145"/>
                    <a:pt x="9" y="131"/>
                    <a:pt x="9" y="117"/>
                  </a:cubicBezTo>
                  <a:cubicBezTo>
                    <a:pt x="9" y="108"/>
                    <a:pt x="11" y="99"/>
                    <a:pt x="16" y="90"/>
                  </a:cubicBezTo>
                  <a:cubicBezTo>
                    <a:pt x="35" y="53"/>
                    <a:pt x="26" y="16"/>
                    <a:pt x="5" y="0"/>
                  </a:cubicBez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Freeform 169"/>
            <p:cNvSpPr>
              <a:spLocks/>
            </p:cNvSpPr>
            <p:nvPr/>
          </p:nvSpPr>
          <p:spPr bwMode="auto">
            <a:xfrm>
              <a:off x="10644237" y="4783452"/>
              <a:ext cx="427038" cy="438150"/>
            </a:xfrm>
            <a:custGeom>
              <a:avLst/>
              <a:gdLst>
                <a:gd name="T0" fmla="*/ 443 w 530"/>
                <a:gd name="T1" fmla="*/ 0 h 544"/>
                <a:gd name="T2" fmla="*/ 340 w 530"/>
                <a:gd name="T3" fmla="*/ 74 h 544"/>
                <a:gd name="T4" fmla="*/ 347 w 530"/>
                <a:gd name="T5" fmla="*/ 101 h 544"/>
                <a:gd name="T6" fmla="*/ 314 w 530"/>
                <a:gd name="T7" fmla="*/ 199 h 544"/>
                <a:gd name="T8" fmla="*/ 0 w 530"/>
                <a:gd name="T9" fmla="*/ 199 h 544"/>
                <a:gd name="T10" fmla="*/ 0 w 530"/>
                <a:gd name="T11" fmla="*/ 513 h 544"/>
                <a:gd name="T12" fmla="*/ 17 w 530"/>
                <a:gd name="T13" fmla="*/ 544 h 544"/>
                <a:gd name="T14" fmla="*/ 9 w 530"/>
                <a:gd name="T15" fmla="*/ 522 h 544"/>
                <a:gd name="T16" fmla="*/ 9 w 530"/>
                <a:gd name="T17" fmla="*/ 208 h 544"/>
                <a:gd name="T18" fmla="*/ 323 w 530"/>
                <a:gd name="T19" fmla="*/ 208 h 544"/>
                <a:gd name="T20" fmla="*/ 356 w 530"/>
                <a:gd name="T21" fmla="*/ 110 h 544"/>
                <a:gd name="T22" fmla="*/ 349 w 530"/>
                <a:gd name="T23" fmla="*/ 83 h 544"/>
                <a:gd name="T24" fmla="*/ 452 w 530"/>
                <a:gd name="T25" fmla="*/ 9 h 544"/>
                <a:gd name="T26" fmla="*/ 530 w 530"/>
                <a:gd name="T27" fmla="*/ 35 h 544"/>
                <a:gd name="T28" fmla="*/ 443 w 530"/>
                <a:gd name="T29" fmla="*/ 0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0" h="544">
                  <a:moveTo>
                    <a:pt x="443" y="0"/>
                  </a:moveTo>
                  <a:cubicBezTo>
                    <a:pt x="386" y="0"/>
                    <a:pt x="340" y="33"/>
                    <a:pt x="340" y="74"/>
                  </a:cubicBezTo>
                  <a:cubicBezTo>
                    <a:pt x="340" y="84"/>
                    <a:pt x="342" y="93"/>
                    <a:pt x="347" y="101"/>
                  </a:cubicBezTo>
                  <a:cubicBezTo>
                    <a:pt x="372" y="149"/>
                    <a:pt x="349" y="199"/>
                    <a:pt x="314" y="199"/>
                  </a:cubicBezTo>
                  <a:cubicBezTo>
                    <a:pt x="0" y="199"/>
                    <a:pt x="0" y="199"/>
                    <a:pt x="0" y="199"/>
                  </a:cubicBezTo>
                  <a:cubicBezTo>
                    <a:pt x="0" y="513"/>
                    <a:pt x="0" y="513"/>
                    <a:pt x="0" y="513"/>
                  </a:cubicBezTo>
                  <a:cubicBezTo>
                    <a:pt x="0" y="525"/>
                    <a:pt x="6" y="536"/>
                    <a:pt x="17" y="544"/>
                  </a:cubicBezTo>
                  <a:cubicBezTo>
                    <a:pt x="12" y="537"/>
                    <a:pt x="9" y="530"/>
                    <a:pt x="9" y="522"/>
                  </a:cubicBezTo>
                  <a:cubicBezTo>
                    <a:pt x="9" y="208"/>
                    <a:pt x="9" y="208"/>
                    <a:pt x="9" y="208"/>
                  </a:cubicBezTo>
                  <a:cubicBezTo>
                    <a:pt x="323" y="208"/>
                    <a:pt x="323" y="208"/>
                    <a:pt x="323" y="208"/>
                  </a:cubicBezTo>
                  <a:cubicBezTo>
                    <a:pt x="358" y="208"/>
                    <a:pt x="381" y="158"/>
                    <a:pt x="356" y="110"/>
                  </a:cubicBezTo>
                  <a:cubicBezTo>
                    <a:pt x="351" y="102"/>
                    <a:pt x="349" y="93"/>
                    <a:pt x="349" y="83"/>
                  </a:cubicBezTo>
                  <a:cubicBezTo>
                    <a:pt x="349" y="42"/>
                    <a:pt x="395" y="9"/>
                    <a:pt x="452" y="9"/>
                  </a:cubicBezTo>
                  <a:cubicBezTo>
                    <a:pt x="483" y="9"/>
                    <a:pt x="511" y="19"/>
                    <a:pt x="530" y="35"/>
                  </a:cubicBezTo>
                  <a:cubicBezTo>
                    <a:pt x="512" y="14"/>
                    <a:pt x="480" y="0"/>
                    <a:pt x="443" y="0"/>
                  </a:cubicBez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Freeform 170"/>
            <p:cNvSpPr>
              <a:spLocks/>
            </p:cNvSpPr>
            <p:nvPr/>
          </p:nvSpPr>
          <p:spPr bwMode="auto">
            <a:xfrm>
              <a:off x="11085562" y="4937440"/>
              <a:ext cx="271463" cy="14287"/>
            </a:xfrm>
            <a:custGeom>
              <a:avLst/>
              <a:gdLst>
                <a:gd name="T0" fmla="*/ 22 w 336"/>
                <a:gd name="T1" fmla="*/ 8 h 17"/>
                <a:gd name="T2" fmla="*/ 0 w 336"/>
                <a:gd name="T3" fmla="*/ 0 h 17"/>
                <a:gd name="T4" fmla="*/ 31 w 336"/>
                <a:gd name="T5" fmla="*/ 17 h 17"/>
                <a:gd name="T6" fmla="*/ 336 w 336"/>
                <a:gd name="T7" fmla="*/ 17 h 17"/>
                <a:gd name="T8" fmla="*/ 336 w 336"/>
                <a:gd name="T9" fmla="*/ 8 h 17"/>
                <a:gd name="T10" fmla="*/ 22 w 336"/>
                <a:gd name="T11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6" h="17">
                  <a:moveTo>
                    <a:pt x="22" y="8"/>
                  </a:moveTo>
                  <a:cubicBezTo>
                    <a:pt x="14" y="8"/>
                    <a:pt x="6" y="5"/>
                    <a:pt x="0" y="0"/>
                  </a:cubicBezTo>
                  <a:cubicBezTo>
                    <a:pt x="8" y="10"/>
                    <a:pt x="19" y="17"/>
                    <a:pt x="31" y="17"/>
                  </a:cubicBezTo>
                  <a:cubicBezTo>
                    <a:pt x="336" y="17"/>
                    <a:pt x="336" y="17"/>
                    <a:pt x="336" y="17"/>
                  </a:cubicBezTo>
                  <a:cubicBezTo>
                    <a:pt x="336" y="8"/>
                    <a:pt x="336" y="8"/>
                    <a:pt x="336" y="8"/>
                  </a:cubicBezTo>
                  <a:lnTo>
                    <a:pt x="22" y="8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Freeform 171"/>
            <p:cNvSpPr>
              <a:spLocks/>
            </p:cNvSpPr>
            <p:nvPr/>
          </p:nvSpPr>
          <p:spPr bwMode="auto">
            <a:xfrm>
              <a:off x="10644237" y="5237477"/>
              <a:ext cx="166688" cy="419100"/>
            </a:xfrm>
            <a:custGeom>
              <a:avLst/>
              <a:gdLst>
                <a:gd name="T0" fmla="*/ 172 w 208"/>
                <a:gd name="T1" fmla="*/ 0 h 521"/>
                <a:gd name="T2" fmla="*/ 199 w 208"/>
                <a:gd name="T3" fmla="*/ 78 h 521"/>
                <a:gd name="T4" fmla="*/ 124 w 208"/>
                <a:gd name="T5" fmla="*/ 181 h 521"/>
                <a:gd name="T6" fmla="*/ 98 w 208"/>
                <a:gd name="T7" fmla="*/ 174 h 521"/>
                <a:gd name="T8" fmla="*/ 0 w 208"/>
                <a:gd name="T9" fmla="*/ 207 h 521"/>
                <a:gd name="T10" fmla="*/ 0 w 208"/>
                <a:gd name="T11" fmla="*/ 521 h 521"/>
                <a:gd name="T12" fmla="*/ 9 w 208"/>
                <a:gd name="T13" fmla="*/ 521 h 521"/>
                <a:gd name="T14" fmla="*/ 9 w 208"/>
                <a:gd name="T15" fmla="*/ 216 h 521"/>
                <a:gd name="T16" fmla="*/ 107 w 208"/>
                <a:gd name="T17" fmla="*/ 183 h 521"/>
                <a:gd name="T18" fmla="*/ 133 w 208"/>
                <a:gd name="T19" fmla="*/ 190 h 521"/>
                <a:gd name="T20" fmla="*/ 208 w 208"/>
                <a:gd name="T21" fmla="*/ 87 h 521"/>
                <a:gd name="T22" fmla="*/ 172 w 208"/>
                <a:gd name="T23" fmla="*/ 0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08" h="521">
                  <a:moveTo>
                    <a:pt x="172" y="0"/>
                  </a:moveTo>
                  <a:cubicBezTo>
                    <a:pt x="188" y="19"/>
                    <a:pt x="199" y="47"/>
                    <a:pt x="199" y="78"/>
                  </a:cubicBezTo>
                  <a:cubicBezTo>
                    <a:pt x="199" y="135"/>
                    <a:pt x="165" y="181"/>
                    <a:pt x="124" y="181"/>
                  </a:cubicBezTo>
                  <a:cubicBezTo>
                    <a:pt x="115" y="181"/>
                    <a:pt x="106" y="179"/>
                    <a:pt x="98" y="174"/>
                  </a:cubicBezTo>
                  <a:cubicBezTo>
                    <a:pt x="49" y="149"/>
                    <a:pt x="0" y="172"/>
                    <a:pt x="0" y="207"/>
                  </a:cubicBezTo>
                  <a:cubicBezTo>
                    <a:pt x="0" y="521"/>
                    <a:pt x="0" y="521"/>
                    <a:pt x="0" y="521"/>
                  </a:cubicBezTo>
                  <a:cubicBezTo>
                    <a:pt x="9" y="521"/>
                    <a:pt x="9" y="521"/>
                    <a:pt x="9" y="521"/>
                  </a:cubicBezTo>
                  <a:cubicBezTo>
                    <a:pt x="9" y="216"/>
                    <a:pt x="9" y="216"/>
                    <a:pt x="9" y="216"/>
                  </a:cubicBezTo>
                  <a:cubicBezTo>
                    <a:pt x="9" y="181"/>
                    <a:pt x="58" y="158"/>
                    <a:pt x="107" y="183"/>
                  </a:cubicBezTo>
                  <a:cubicBezTo>
                    <a:pt x="115" y="188"/>
                    <a:pt x="124" y="190"/>
                    <a:pt x="133" y="190"/>
                  </a:cubicBezTo>
                  <a:cubicBezTo>
                    <a:pt x="174" y="190"/>
                    <a:pt x="208" y="144"/>
                    <a:pt x="208" y="87"/>
                  </a:cubicBezTo>
                  <a:cubicBezTo>
                    <a:pt x="208" y="50"/>
                    <a:pt x="194" y="18"/>
                    <a:pt x="172" y="0"/>
                  </a:cubicBez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Freeform 172"/>
            <p:cNvSpPr>
              <a:spLocks/>
            </p:cNvSpPr>
            <p:nvPr/>
          </p:nvSpPr>
          <p:spPr bwMode="auto">
            <a:xfrm>
              <a:off x="11225262" y="5362890"/>
              <a:ext cx="125413" cy="26987"/>
            </a:xfrm>
            <a:custGeom>
              <a:avLst/>
              <a:gdLst>
                <a:gd name="T0" fmla="*/ 66 w 156"/>
                <a:gd name="T1" fmla="*/ 19 h 35"/>
                <a:gd name="T2" fmla="*/ 39 w 156"/>
                <a:gd name="T3" fmla="*/ 26 h 35"/>
                <a:gd name="T4" fmla="*/ 0 w 156"/>
                <a:gd name="T5" fmla="*/ 11 h 35"/>
                <a:gd name="T6" fmla="*/ 48 w 156"/>
                <a:gd name="T7" fmla="*/ 35 h 35"/>
                <a:gd name="T8" fmla="*/ 75 w 156"/>
                <a:gd name="T9" fmla="*/ 28 h 35"/>
                <a:gd name="T10" fmla="*/ 156 w 156"/>
                <a:gd name="T11" fmla="*/ 30 h 35"/>
                <a:gd name="T12" fmla="*/ 66 w 156"/>
                <a:gd name="T1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35">
                  <a:moveTo>
                    <a:pt x="66" y="19"/>
                  </a:moveTo>
                  <a:cubicBezTo>
                    <a:pt x="57" y="24"/>
                    <a:pt x="48" y="26"/>
                    <a:pt x="39" y="26"/>
                  </a:cubicBezTo>
                  <a:cubicBezTo>
                    <a:pt x="25" y="26"/>
                    <a:pt x="11" y="20"/>
                    <a:pt x="0" y="11"/>
                  </a:cubicBezTo>
                  <a:cubicBezTo>
                    <a:pt x="13" y="26"/>
                    <a:pt x="30" y="35"/>
                    <a:pt x="48" y="35"/>
                  </a:cubicBezTo>
                  <a:cubicBezTo>
                    <a:pt x="57" y="35"/>
                    <a:pt x="66" y="33"/>
                    <a:pt x="75" y="28"/>
                  </a:cubicBezTo>
                  <a:cubicBezTo>
                    <a:pt x="106" y="12"/>
                    <a:pt x="137" y="16"/>
                    <a:pt x="156" y="30"/>
                  </a:cubicBezTo>
                  <a:cubicBezTo>
                    <a:pt x="140" y="9"/>
                    <a:pt x="102" y="0"/>
                    <a:pt x="66" y="19"/>
                  </a:cubicBez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173"/>
            <p:cNvSpPr>
              <a:spLocks/>
            </p:cNvSpPr>
            <p:nvPr/>
          </p:nvSpPr>
          <p:spPr bwMode="auto">
            <a:xfrm>
              <a:off x="10653762" y="5210490"/>
              <a:ext cx="125413" cy="28575"/>
            </a:xfrm>
            <a:custGeom>
              <a:avLst/>
              <a:gdLst>
                <a:gd name="T0" fmla="*/ 91 w 156"/>
                <a:gd name="T1" fmla="*/ 16 h 36"/>
                <a:gd name="T2" fmla="*/ 117 w 156"/>
                <a:gd name="T3" fmla="*/ 10 h 36"/>
                <a:gd name="T4" fmla="*/ 156 w 156"/>
                <a:gd name="T5" fmla="*/ 25 h 36"/>
                <a:gd name="T6" fmla="*/ 108 w 156"/>
                <a:gd name="T7" fmla="*/ 0 h 36"/>
                <a:gd name="T8" fmla="*/ 81 w 156"/>
                <a:gd name="T9" fmla="*/ 7 h 36"/>
                <a:gd name="T10" fmla="*/ 0 w 156"/>
                <a:gd name="T11" fmla="*/ 6 h 36"/>
                <a:gd name="T12" fmla="*/ 91 w 156"/>
                <a:gd name="T13" fmla="*/ 1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36">
                  <a:moveTo>
                    <a:pt x="91" y="16"/>
                  </a:moveTo>
                  <a:cubicBezTo>
                    <a:pt x="99" y="12"/>
                    <a:pt x="108" y="10"/>
                    <a:pt x="117" y="10"/>
                  </a:cubicBezTo>
                  <a:cubicBezTo>
                    <a:pt x="131" y="10"/>
                    <a:pt x="145" y="15"/>
                    <a:pt x="156" y="25"/>
                  </a:cubicBezTo>
                  <a:cubicBezTo>
                    <a:pt x="143" y="9"/>
                    <a:pt x="126" y="0"/>
                    <a:pt x="108" y="0"/>
                  </a:cubicBezTo>
                  <a:cubicBezTo>
                    <a:pt x="99" y="0"/>
                    <a:pt x="90" y="3"/>
                    <a:pt x="81" y="7"/>
                  </a:cubicBezTo>
                  <a:cubicBezTo>
                    <a:pt x="50" y="23"/>
                    <a:pt x="19" y="20"/>
                    <a:pt x="0" y="6"/>
                  </a:cubicBezTo>
                  <a:cubicBezTo>
                    <a:pt x="16" y="27"/>
                    <a:pt x="54" y="36"/>
                    <a:pt x="91" y="16"/>
                  </a:cubicBez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174"/>
            <p:cNvSpPr>
              <a:spLocks/>
            </p:cNvSpPr>
            <p:nvPr/>
          </p:nvSpPr>
          <p:spPr bwMode="auto">
            <a:xfrm>
              <a:off x="10647412" y="5650227"/>
              <a:ext cx="271463" cy="12700"/>
            </a:xfrm>
            <a:custGeom>
              <a:avLst/>
              <a:gdLst>
                <a:gd name="T0" fmla="*/ 305 w 336"/>
                <a:gd name="T1" fmla="*/ 0 h 16"/>
                <a:gd name="T2" fmla="*/ 0 w 336"/>
                <a:gd name="T3" fmla="*/ 0 h 16"/>
                <a:gd name="T4" fmla="*/ 0 w 336"/>
                <a:gd name="T5" fmla="*/ 9 h 16"/>
                <a:gd name="T6" fmla="*/ 314 w 336"/>
                <a:gd name="T7" fmla="*/ 9 h 16"/>
                <a:gd name="T8" fmla="*/ 336 w 336"/>
                <a:gd name="T9" fmla="*/ 16 h 16"/>
                <a:gd name="T10" fmla="*/ 305 w 336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6" h="16">
                  <a:moveTo>
                    <a:pt x="30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314" y="9"/>
                    <a:pt x="314" y="9"/>
                    <a:pt x="314" y="9"/>
                  </a:cubicBezTo>
                  <a:cubicBezTo>
                    <a:pt x="322" y="9"/>
                    <a:pt x="330" y="11"/>
                    <a:pt x="336" y="16"/>
                  </a:cubicBezTo>
                  <a:cubicBezTo>
                    <a:pt x="328" y="6"/>
                    <a:pt x="317" y="0"/>
                    <a:pt x="305" y="0"/>
                  </a:cubicBez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175"/>
            <p:cNvSpPr>
              <a:spLocks/>
            </p:cNvSpPr>
            <p:nvPr/>
          </p:nvSpPr>
          <p:spPr bwMode="auto">
            <a:xfrm>
              <a:off x="11058574" y="4804090"/>
              <a:ext cx="28575" cy="125412"/>
            </a:xfrm>
            <a:custGeom>
              <a:avLst/>
              <a:gdLst>
                <a:gd name="T0" fmla="*/ 30 w 35"/>
                <a:gd name="T1" fmla="*/ 156 h 156"/>
                <a:gd name="T2" fmla="*/ 29 w 35"/>
                <a:gd name="T3" fmla="*/ 75 h 156"/>
                <a:gd name="T4" fmla="*/ 35 w 35"/>
                <a:gd name="T5" fmla="*/ 48 h 156"/>
                <a:gd name="T6" fmla="*/ 11 w 35"/>
                <a:gd name="T7" fmla="*/ 0 h 156"/>
                <a:gd name="T8" fmla="*/ 26 w 35"/>
                <a:gd name="T9" fmla="*/ 39 h 156"/>
                <a:gd name="T10" fmla="*/ 19 w 35"/>
                <a:gd name="T11" fmla="*/ 66 h 156"/>
                <a:gd name="T12" fmla="*/ 30 w 35"/>
                <a:gd name="T1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156">
                  <a:moveTo>
                    <a:pt x="30" y="156"/>
                  </a:moveTo>
                  <a:cubicBezTo>
                    <a:pt x="16" y="137"/>
                    <a:pt x="12" y="106"/>
                    <a:pt x="29" y="75"/>
                  </a:cubicBezTo>
                  <a:cubicBezTo>
                    <a:pt x="33" y="67"/>
                    <a:pt x="35" y="58"/>
                    <a:pt x="35" y="48"/>
                  </a:cubicBezTo>
                  <a:cubicBezTo>
                    <a:pt x="35" y="30"/>
                    <a:pt x="26" y="13"/>
                    <a:pt x="11" y="0"/>
                  </a:cubicBezTo>
                  <a:cubicBezTo>
                    <a:pt x="21" y="12"/>
                    <a:pt x="26" y="25"/>
                    <a:pt x="26" y="39"/>
                  </a:cubicBezTo>
                  <a:cubicBezTo>
                    <a:pt x="26" y="49"/>
                    <a:pt x="24" y="58"/>
                    <a:pt x="19" y="66"/>
                  </a:cubicBezTo>
                  <a:cubicBezTo>
                    <a:pt x="0" y="103"/>
                    <a:pt x="9" y="140"/>
                    <a:pt x="30" y="156"/>
                  </a:cubicBez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Freeform 176"/>
            <p:cNvSpPr>
              <a:spLocks/>
            </p:cNvSpPr>
            <p:nvPr/>
          </p:nvSpPr>
          <p:spPr bwMode="auto">
            <a:xfrm>
              <a:off x="11193512" y="4943790"/>
              <a:ext cx="166688" cy="420687"/>
            </a:xfrm>
            <a:custGeom>
              <a:avLst/>
              <a:gdLst>
                <a:gd name="T0" fmla="*/ 199 w 208"/>
                <a:gd name="T1" fmla="*/ 0 h 521"/>
                <a:gd name="T2" fmla="*/ 199 w 208"/>
                <a:gd name="T3" fmla="*/ 304 h 521"/>
                <a:gd name="T4" fmla="*/ 101 w 208"/>
                <a:gd name="T5" fmla="*/ 337 h 521"/>
                <a:gd name="T6" fmla="*/ 75 w 208"/>
                <a:gd name="T7" fmla="*/ 330 h 521"/>
                <a:gd name="T8" fmla="*/ 0 w 208"/>
                <a:gd name="T9" fmla="*/ 433 h 521"/>
                <a:gd name="T10" fmla="*/ 36 w 208"/>
                <a:gd name="T11" fmla="*/ 521 h 521"/>
                <a:gd name="T12" fmla="*/ 9 w 208"/>
                <a:gd name="T13" fmla="*/ 442 h 521"/>
                <a:gd name="T14" fmla="*/ 84 w 208"/>
                <a:gd name="T15" fmla="*/ 340 h 521"/>
                <a:gd name="T16" fmla="*/ 111 w 208"/>
                <a:gd name="T17" fmla="*/ 346 h 521"/>
                <a:gd name="T18" fmla="*/ 208 w 208"/>
                <a:gd name="T19" fmla="*/ 314 h 521"/>
                <a:gd name="T20" fmla="*/ 208 w 208"/>
                <a:gd name="T21" fmla="*/ 0 h 521"/>
                <a:gd name="T22" fmla="*/ 199 w 208"/>
                <a:gd name="T23" fmla="*/ 0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08" h="521">
                  <a:moveTo>
                    <a:pt x="199" y="0"/>
                  </a:moveTo>
                  <a:cubicBezTo>
                    <a:pt x="199" y="304"/>
                    <a:pt x="199" y="304"/>
                    <a:pt x="199" y="304"/>
                  </a:cubicBezTo>
                  <a:cubicBezTo>
                    <a:pt x="199" y="340"/>
                    <a:pt x="149" y="362"/>
                    <a:pt x="101" y="337"/>
                  </a:cubicBezTo>
                  <a:cubicBezTo>
                    <a:pt x="93" y="333"/>
                    <a:pt x="84" y="330"/>
                    <a:pt x="75" y="330"/>
                  </a:cubicBezTo>
                  <a:cubicBezTo>
                    <a:pt x="34" y="330"/>
                    <a:pt x="0" y="376"/>
                    <a:pt x="0" y="433"/>
                  </a:cubicBezTo>
                  <a:cubicBezTo>
                    <a:pt x="0" y="470"/>
                    <a:pt x="14" y="503"/>
                    <a:pt x="36" y="521"/>
                  </a:cubicBezTo>
                  <a:cubicBezTo>
                    <a:pt x="20" y="502"/>
                    <a:pt x="9" y="474"/>
                    <a:pt x="9" y="442"/>
                  </a:cubicBezTo>
                  <a:cubicBezTo>
                    <a:pt x="9" y="385"/>
                    <a:pt x="43" y="340"/>
                    <a:pt x="84" y="340"/>
                  </a:cubicBezTo>
                  <a:cubicBezTo>
                    <a:pt x="93" y="340"/>
                    <a:pt x="102" y="342"/>
                    <a:pt x="111" y="346"/>
                  </a:cubicBezTo>
                  <a:cubicBezTo>
                    <a:pt x="159" y="371"/>
                    <a:pt x="208" y="349"/>
                    <a:pt x="208" y="314"/>
                  </a:cubicBezTo>
                  <a:cubicBezTo>
                    <a:pt x="208" y="0"/>
                    <a:pt x="208" y="0"/>
                    <a:pt x="208" y="0"/>
                  </a:cubicBezTo>
                  <a:lnTo>
                    <a:pt x="199" y="0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Freeform 177"/>
            <p:cNvSpPr>
              <a:spLocks/>
            </p:cNvSpPr>
            <p:nvPr/>
          </p:nvSpPr>
          <p:spPr bwMode="auto">
            <a:xfrm>
              <a:off x="10933162" y="5378765"/>
              <a:ext cx="427038" cy="438150"/>
            </a:xfrm>
            <a:custGeom>
              <a:avLst/>
              <a:gdLst>
                <a:gd name="T0" fmla="*/ 513 w 530"/>
                <a:gd name="T1" fmla="*/ 0 h 544"/>
                <a:gd name="T2" fmla="*/ 521 w 530"/>
                <a:gd name="T3" fmla="*/ 23 h 544"/>
                <a:gd name="T4" fmla="*/ 521 w 530"/>
                <a:gd name="T5" fmla="*/ 337 h 544"/>
                <a:gd name="T6" fmla="*/ 207 w 530"/>
                <a:gd name="T7" fmla="*/ 337 h 544"/>
                <a:gd name="T8" fmla="*/ 174 w 530"/>
                <a:gd name="T9" fmla="*/ 434 h 544"/>
                <a:gd name="T10" fmla="*/ 181 w 530"/>
                <a:gd name="T11" fmla="*/ 461 h 544"/>
                <a:gd name="T12" fmla="*/ 78 w 530"/>
                <a:gd name="T13" fmla="*/ 535 h 544"/>
                <a:gd name="T14" fmla="*/ 0 w 530"/>
                <a:gd name="T15" fmla="*/ 509 h 544"/>
                <a:gd name="T16" fmla="*/ 88 w 530"/>
                <a:gd name="T17" fmla="*/ 544 h 544"/>
                <a:gd name="T18" fmla="*/ 190 w 530"/>
                <a:gd name="T19" fmla="*/ 470 h 544"/>
                <a:gd name="T20" fmla="*/ 184 w 530"/>
                <a:gd name="T21" fmla="*/ 443 h 544"/>
                <a:gd name="T22" fmla="*/ 216 w 530"/>
                <a:gd name="T23" fmla="*/ 346 h 544"/>
                <a:gd name="T24" fmla="*/ 530 w 530"/>
                <a:gd name="T25" fmla="*/ 346 h 544"/>
                <a:gd name="T26" fmla="*/ 530 w 530"/>
                <a:gd name="T27" fmla="*/ 32 h 544"/>
                <a:gd name="T28" fmla="*/ 513 w 530"/>
                <a:gd name="T29" fmla="*/ 0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0" h="544">
                  <a:moveTo>
                    <a:pt x="513" y="0"/>
                  </a:moveTo>
                  <a:cubicBezTo>
                    <a:pt x="518" y="7"/>
                    <a:pt x="521" y="14"/>
                    <a:pt x="521" y="23"/>
                  </a:cubicBezTo>
                  <a:cubicBezTo>
                    <a:pt x="521" y="337"/>
                    <a:pt x="521" y="337"/>
                    <a:pt x="521" y="337"/>
                  </a:cubicBezTo>
                  <a:cubicBezTo>
                    <a:pt x="207" y="337"/>
                    <a:pt x="207" y="337"/>
                    <a:pt x="207" y="337"/>
                  </a:cubicBezTo>
                  <a:cubicBezTo>
                    <a:pt x="172" y="337"/>
                    <a:pt x="149" y="386"/>
                    <a:pt x="174" y="434"/>
                  </a:cubicBezTo>
                  <a:cubicBezTo>
                    <a:pt x="179" y="442"/>
                    <a:pt x="181" y="451"/>
                    <a:pt x="181" y="461"/>
                  </a:cubicBezTo>
                  <a:cubicBezTo>
                    <a:pt x="181" y="502"/>
                    <a:pt x="135" y="535"/>
                    <a:pt x="78" y="535"/>
                  </a:cubicBezTo>
                  <a:cubicBezTo>
                    <a:pt x="47" y="535"/>
                    <a:pt x="19" y="525"/>
                    <a:pt x="0" y="509"/>
                  </a:cubicBezTo>
                  <a:cubicBezTo>
                    <a:pt x="18" y="530"/>
                    <a:pt x="50" y="544"/>
                    <a:pt x="88" y="544"/>
                  </a:cubicBezTo>
                  <a:cubicBezTo>
                    <a:pt x="144" y="544"/>
                    <a:pt x="190" y="511"/>
                    <a:pt x="190" y="470"/>
                  </a:cubicBezTo>
                  <a:cubicBezTo>
                    <a:pt x="190" y="461"/>
                    <a:pt x="188" y="452"/>
                    <a:pt x="184" y="443"/>
                  </a:cubicBezTo>
                  <a:cubicBezTo>
                    <a:pt x="158" y="395"/>
                    <a:pt x="181" y="346"/>
                    <a:pt x="216" y="346"/>
                  </a:cubicBezTo>
                  <a:cubicBezTo>
                    <a:pt x="530" y="346"/>
                    <a:pt x="530" y="346"/>
                    <a:pt x="530" y="346"/>
                  </a:cubicBezTo>
                  <a:cubicBezTo>
                    <a:pt x="530" y="32"/>
                    <a:pt x="530" y="32"/>
                    <a:pt x="530" y="32"/>
                  </a:cubicBezTo>
                  <a:cubicBezTo>
                    <a:pt x="530" y="19"/>
                    <a:pt x="524" y="8"/>
                    <a:pt x="513" y="0"/>
                  </a:cubicBez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30" name="Group 5"/>
          <p:cNvGrpSpPr/>
          <p:nvPr/>
        </p:nvGrpSpPr>
        <p:grpSpPr>
          <a:xfrm>
            <a:off x="6082840" y="2525366"/>
            <a:ext cx="4817087" cy="2383886"/>
            <a:chOff x="6448927" y="2879800"/>
            <a:chExt cx="4558828" cy="2256078"/>
          </a:xfrm>
        </p:grpSpPr>
        <p:sp>
          <p:nvSpPr>
            <p:cNvPr id="231" name="Freeform 193"/>
            <p:cNvSpPr/>
            <p:nvPr/>
          </p:nvSpPr>
          <p:spPr>
            <a:xfrm>
              <a:off x="6448927" y="3315797"/>
              <a:ext cx="2277757" cy="1539647"/>
            </a:xfrm>
            <a:custGeom>
              <a:avLst/>
              <a:gdLst>
                <a:gd name="connsiteX0" fmla="*/ 0 w 112934"/>
                <a:gd name="connsiteY0" fmla="*/ 0 h 69217"/>
                <a:gd name="connsiteX1" fmla="*/ 43717 w 112934"/>
                <a:gd name="connsiteY1" fmla="*/ 18215 h 69217"/>
                <a:gd name="connsiteX2" fmla="*/ 112934 w 112934"/>
                <a:gd name="connsiteY2" fmla="*/ 69217 h 69217"/>
                <a:gd name="connsiteX0" fmla="*/ 130924 w 2418746"/>
                <a:gd name="connsiteY0" fmla="*/ 0 h 109291"/>
                <a:gd name="connsiteX1" fmla="*/ 174641 w 2418746"/>
                <a:gd name="connsiteY1" fmla="*/ 18215 h 109291"/>
                <a:gd name="connsiteX2" fmla="*/ 2418746 w 2418746"/>
                <a:gd name="connsiteY2" fmla="*/ 109291 h 109291"/>
                <a:gd name="connsiteX0" fmla="*/ 121571 w 2423965"/>
                <a:gd name="connsiteY0" fmla="*/ 1383907 h 1383967"/>
                <a:gd name="connsiteX1" fmla="*/ 179860 w 2423965"/>
                <a:gd name="connsiteY1" fmla="*/ 76060 h 1383967"/>
                <a:gd name="connsiteX2" fmla="*/ 2423965 w 2423965"/>
                <a:gd name="connsiteY2" fmla="*/ 167136 h 1383967"/>
                <a:gd name="connsiteX0" fmla="*/ 0 w 2302394"/>
                <a:gd name="connsiteY0" fmla="*/ 1220236 h 1220335"/>
                <a:gd name="connsiteX1" fmla="*/ 1216772 w 2302394"/>
                <a:gd name="connsiteY1" fmla="*/ 349552 h 1220335"/>
                <a:gd name="connsiteX2" fmla="*/ 2302394 w 2302394"/>
                <a:gd name="connsiteY2" fmla="*/ 3465 h 1220335"/>
                <a:gd name="connsiteX0" fmla="*/ 0 w 2302394"/>
                <a:gd name="connsiteY0" fmla="*/ 1218509 h 1218586"/>
                <a:gd name="connsiteX1" fmla="*/ 1216772 w 2302394"/>
                <a:gd name="connsiteY1" fmla="*/ 347825 h 1218586"/>
                <a:gd name="connsiteX2" fmla="*/ 2302394 w 2302394"/>
                <a:gd name="connsiteY2" fmla="*/ 1738 h 1218586"/>
                <a:gd name="connsiteX0" fmla="*/ 0 w 2302394"/>
                <a:gd name="connsiteY0" fmla="*/ 1216771 h 1216848"/>
                <a:gd name="connsiteX1" fmla="*/ 1216772 w 2302394"/>
                <a:gd name="connsiteY1" fmla="*/ 346087 h 1216848"/>
                <a:gd name="connsiteX2" fmla="*/ 2302394 w 2302394"/>
                <a:gd name="connsiteY2" fmla="*/ 0 h 1216848"/>
                <a:gd name="connsiteX0" fmla="*/ 0 w 2302394"/>
                <a:gd name="connsiteY0" fmla="*/ 1216771 h 1216771"/>
                <a:gd name="connsiteX1" fmla="*/ 1216772 w 2302394"/>
                <a:gd name="connsiteY1" fmla="*/ 346087 h 1216771"/>
                <a:gd name="connsiteX2" fmla="*/ 2302394 w 2302394"/>
                <a:gd name="connsiteY2" fmla="*/ 0 h 1216771"/>
                <a:gd name="connsiteX0" fmla="*/ 0 w 2287822"/>
                <a:gd name="connsiteY0" fmla="*/ 1216771 h 1216771"/>
                <a:gd name="connsiteX1" fmla="*/ 1202200 w 2287822"/>
                <a:gd name="connsiteY1" fmla="*/ 346087 h 1216771"/>
                <a:gd name="connsiteX2" fmla="*/ 2287822 w 2287822"/>
                <a:gd name="connsiteY2" fmla="*/ 0 h 1216771"/>
                <a:gd name="connsiteX0" fmla="*/ 0 w 2295108"/>
                <a:gd name="connsiteY0" fmla="*/ 1220414 h 1220414"/>
                <a:gd name="connsiteX1" fmla="*/ 1209486 w 2295108"/>
                <a:gd name="connsiteY1" fmla="*/ 346087 h 1220414"/>
                <a:gd name="connsiteX2" fmla="*/ 2295108 w 2295108"/>
                <a:gd name="connsiteY2" fmla="*/ 0 h 1220414"/>
                <a:gd name="connsiteX0" fmla="*/ 0 w 2295108"/>
                <a:gd name="connsiteY0" fmla="*/ 1220414 h 1220414"/>
                <a:gd name="connsiteX1" fmla="*/ 1209486 w 2295108"/>
                <a:gd name="connsiteY1" fmla="*/ 346087 h 1220414"/>
                <a:gd name="connsiteX2" fmla="*/ 2295108 w 2295108"/>
                <a:gd name="connsiteY2" fmla="*/ 0 h 1220414"/>
                <a:gd name="connsiteX0" fmla="*/ 0 w 2295108"/>
                <a:gd name="connsiteY0" fmla="*/ 1220414 h 1220414"/>
                <a:gd name="connsiteX1" fmla="*/ 1209486 w 2295108"/>
                <a:gd name="connsiteY1" fmla="*/ 346087 h 1220414"/>
                <a:gd name="connsiteX2" fmla="*/ 2295108 w 2295108"/>
                <a:gd name="connsiteY2" fmla="*/ 0 h 1220414"/>
                <a:gd name="connsiteX0" fmla="*/ 0 w 2284179"/>
                <a:gd name="connsiteY0" fmla="*/ 1220414 h 1220414"/>
                <a:gd name="connsiteX1" fmla="*/ 1209486 w 2284179"/>
                <a:gd name="connsiteY1" fmla="*/ 346087 h 1220414"/>
                <a:gd name="connsiteX2" fmla="*/ 2284179 w 2284179"/>
                <a:gd name="connsiteY2" fmla="*/ 0 h 1220414"/>
                <a:gd name="connsiteX0" fmla="*/ 0 w 2284179"/>
                <a:gd name="connsiteY0" fmla="*/ 1220414 h 1220414"/>
                <a:gd name="connsiteX1" fmla="*/ 1209486 w 2284179"/>
                <a:gd name="connsiteY1" fmla="*/ 346087 h 1220414"/>
                <a:gd name="connsiteX2" fmla="*/ 2284179 w 2284179"/>
                <a:gd name="connsiteY2" fmla="*/ 0 h 1220414"/>
                <a:gd name="connsiteX0" fmla="*/ 0 w 2284179"/>
                <a:gd name="connsiteY0" fmla="*/ 1220414 h 1220414"/>
                <a:gd name="connsiteX1" fmla="*/ 1209486 w 2284179"/>
                <a:gd name="connsiteY1" fmla="*/ 346087 h 1220414"/>
                <a:gd name="connsiteX2" fmla="*/ 2284179 w 2284179"/>
                <a:gd name="connsiteY2" fmla="*/ 0 h 1220414"/>
                <a:gd name="connsiteX0" fmla="*/ 0 w 2284179"/>
                <a:gd name="connsiteY0" fmla="*/ 1220414 h 1220414"/>
                <a:gd name="connsiteX1" fmla="*/ 1209486 w 2284179"/>
                <a:gd name="connsiteY1" fmla="*/ 346087 h 1220414"/>
                <a:gd name="connsiteX2" fmla="*/ 2284179 w 2284179"/>
                <a:gd name="connsiteY2" fmla="*/ 0 h 1220414"/>
                <a:gd name="connsiteX0" fmla="*/ 0 w 2284179"/>
                <a:gd name="connsiteY0" fmla="*/ 1220414 h 1220414"/>
                <a:gd name="connsiteX1" fmla="*/ 1209486 w 2284179"/>
                <a:gd name="connsiteY1" fmla="*/ 346087 h 1220414"/>
                <a:gd name="connsiteX2" fmla="*/ 2284179 w 2284179"/>
                <a:gd name="connsiteY2" fmla="*/ 0 h 1220414"/>
                <a:gd name="connsiteX0" fmla="*/ 0 w 2284179"/>
                <a:gd name="connsiteY0" fmla="*/ 1220414 h 1220414"/>
                <a:gd name="connsiteX1" fmla="*/ 1209486 w 2284179"/>
                <a:gd name="connsiteY1" fmla="*/ 346087 h 1220414"/>
                <a:gd name="connsiteX2" fmla="*/ 2284179 w 2284179"/>
                <a:gd name="connsiteY2" fmla="*/ 0 h 1220414"/>
                <a:gd name="connsiteX0" fmla="*/ 0 w 2284179"/>
                <a:gd name="connsiteY0" fmla="*/ 1220414 h 1220414"/>
                <a:gd name="connsiteX1" fmla="*/ 801467 w 2284179"/>
                <a:gd name="connsiteY1" fmla="*/ 349728 h 1220414"/>
                <a:gd name="connsiteX2" fmla="*/ 1209486 w 2284179"/>
                <a:gd name="connsiteY2" fmla="*/ 346087 h 1220414"/>
                <a:gd name="connsiteX3" fmla="*/ 2284179 w 2284179"/>
                <a:gd name="connsiteY3" fmla="*/ 0 h 1220414"/>
                <a:gd name="connsiteX0" fmla="*/ 0 w 2284179"/>
                <a:gd name="connsiteY0" fmla="*/ 1220414 h 1220414"/>
                <a:gd name="connsiteX1" fmla="*/ 408020 w 2284179"/>
                <a:gd name="connsiteY1" fmla="*/ 338799 h 1220414"/>
                <a:gd name="connsiteX2" fmla="*/ 1209486 w 2284179"/>
                <a:gd name="connsiteY2" fmla="*/ 346087 h 1220414"/>
                <a:gd name="connsiteX3" fmla="*/ 2284179 w 2284179"/>
                <a:gd name="connsiteY3" fmla="*/ 0 h 1220414"/>
                <a:gd name="connsiteX0" fmla="*/ 0 w 2284179"/>
                <a:gd name="connsiteY0" fmla="*/ 1220414 h 1220414"/>
                <a:gd name="connsiteX1" fmla="*/ 408020 w 2284179"/>
                <a:gd name="connsiteY1" fmla="*/ 338799 h 1220414"/>
                <a:gd name="connsiteX2" fmla="*/ 1209486 w 2284179"/>
                <a:gd name="connsiteY2" fmla="*/ 346087 h 1220414"/>
                <a:gd name="connsiteX3" fmla="*/ 1803300 w 2284179"/>
                <a:gd name="connsiteY3" fmla="*/ 302369 h 1220414"/>
                <a:gd name="connsiteX4" fmla="*/ 2284179 w 2284179"/>
                <a:gd name="connsiteY4" fmla="*/ 0 h 1220414"/>
                <a:gd name="connsiteX0" fmla="*/ 0 w 2284179"/>
                <a:gd name="connsiteY0" fmla="*/ 1220414 h 1220414"/>
                <a:gd name="connsiteX1" fmla="*/ 408020 w 2284179"/>
                <a:gd name="connsiteY1" fmla="*/ 338799 h 1220414"/>
                <a:gd name="connsiteX2" fmla="*/ 1209486 w 2284179"/>
                <a:gd name="connsiteY2" fmla="*/ 346087 h 1220414"/>
                <a:gd name="connsiteX3" fmla="*/ 1890733 w 2284179"/>
                <a:gd name="connsiteY3" fmla="*/ 342442 h 1220414"/>
                <a:gd name="connsiteX4" fmla="*/ 2284179 w 2284179"/>
                <a:gd name="connsiteY4" fmla="*/ 0 h 1220414"/>
                <a:gd name="connsiteX0" fmla="*/ 0 w 2284179"/>
                <a:gd name="connsiteY0" fmla="*/ 1220414 h 1220414"/>
                <a:gd name="connsiteX1" fmla="*/ 408020 w 2284179"/>
                <a:gd name="connsiteY1" fmla="*/ 338799 h 1220414"/>
                <a:gd name="connsiteX2" fmla="*/ 1209486 w 2284179"/>
                <a:gd name="connsiteY2" fmla="*/ 346087 h 1220414"/>
                <a:gd name="connsiteX3" fmla="*/ 1890733 w 2284179"/>
                <a:gd name="connsiteY3" fmla="*/ 342442 h 1220414"/>
                <a:gd name="connsiteX4" fmla="*/ 2284179 w 2284179"/>
                <a:gd name="connsiteY4" fmla="*/ 0 h 1220414"/>
                <a:gd name="connsiteX0" fmla="*/ 0 w 2284179"/>
                <a:gd name="connsiteY0" fmla="*/ 1220414 h 1220414"/>
                <a:gd name="connsiteX1" fmla="*/ 408020 w 2284179"/>
                <a:gd name="connsiteY1" fmla="*/ 338799 h 1220414"/>
                <a:gd name="connsiteX2" fmla="*/ 1209486 w 2284179"/>
                <a:gd name="connsiteY2" fmla="*/ 346087 h 1220414"/>
                <a:gd name="connsiteX3" fmla="*/ 1890733 w 2284179"/>
                <a:gd name="connsiteY3" fmla="*/ 342442 h 1220414"/>
                <a:gd name="connsiteX4" fmla="*/ 2284179 w 2284179"/>
                <a:gd name="connsiteY4" fmla="*/ 0 h 1220414"/>
                <a:gd name="connsiteX0" fmla="*/ 0 w 2284179"/>
                <a:gd name="connsiteY0" fmla="*/ 1220414 h 1220414"/>
                <a:gd name="connsiteX1" fmla="*/ 408020 w 2284179"/>
                <a:gd name="connsiteY1" fmla="*/ 338799 h 1220414"/>
                <a:gd name="connsiteX2" fmla="*/ 1209486 w 2284179"/>
                <a:gd name="connsiteY2" fmla="*/ 346087 h 1220414"/>
                <a:gd name="connsiteX3" fmla="*/ 1890733 w 2284179"/>
                <a:gd name="connsiteY3" fmla="*/ 342442 h 1220414"/>
                <a:gd name="connsiteX4" fmla="*/ 2284179 w 2284179"/>
                <a:gd name="connsiteY4" fmla="*/ 0 h 1220414"/>
                <a:gd name="connsiteX0" fmla="*/ 0 w 2284179"/>
                <a:gd name="connsiteY0" fmla="*/ 1220414 h 1220414"/>
                <a:gd name="connsiteX1" fmla="*/ 408020 w 2284179"/>
                <a:gd name="connsiteY1" fmla="*/ 338799 h 1220414"/>
                <a:gd name="connsiteX2" fmla="*/ 1209486 w 2284179"/>
                <a:gd name="connsiteY2" fmla="*/ 346087 h 1220414"/>
                <a:gd name="connsiteX3" fmla="*/ 1890733 w 2284179"/>
                <a:gd name="connsiteY3" fmla="*/ 342442 h 1220414"/>
                <a:gd name="connsiteX4" fmla="*/ 2284179 w 2284179"/>
                <a:gd name="connsiteY4" fmla="*/ 0 h 1220414"/>
                <a:gd name="connsiteX0" fmla="*/ 0 w 2284179"/>
                <a:gd name="connsiteY0" fmla="*/ 1548286 h 1548286"/>
                <a:gd name="connsiteX1" fmla="*/ 408020 w 2284179"/>
                <a:gd name="connsiteY1" fmla="*/ 338799 h 1548286"/>
                <a:gd name="connsiteX2" fmla="*/ 1209486 w 2284179"/>
                <a:gd name="connsiteY2" fmla="*/ 346087 h 1548286"/>
                <a:gd name="connsiteX3" fmla="*/ 1890733 w 2284179"/>
                <a:gd name="connsiteY3" fmla="*/ 342442 h 1548286"/>
                <a:gd name="connsiteX4" fmla="*/ 2284179 w 2284179"/>
                <a:gd name="connsiteY4" fmla="*/ 0 h 1548286"/>
                <a:gd name="connsiteX0" fmla="*/ 49101 w 2333280"/>
                <a:gd name="connsiteY0" fmla="*/ 1548286 h 1548286"/>
                <a:gd name="connsiteX1" fmla="*/ 457121 w 2333280"/>
                <a:gd name="connsiteY1" fmla="*/ 338799 h 1548286"/>
                <a:gd name="connsiteX2" fmla="*/ 1258587 w 2333280"/>
                <a:gd name="connsiteY2" fmla="*/ 346087 h 1548286"/>
                <a:gd name="connsiteX3" fmla="*/ 1939834 w 2333280"/>
                <a:gd name="connsiteY3" fmla="*/ 342442 h 1548286"/>
                <a:gd name="connsiteX4" fmla="*/ 2333280 w 2333280"/>
                <a:gd name="connsiteY4" fmla="*/ 0 h 1548286"/>
                <a:gd name="connsiteX0" fmla="*/ 49101 w 2333280"/>
                <a:gd name="connsiteY0" fmla="*/ 1548286 h 1548286"/>
                <a:gd name="connsiteX1" fmla="*/ 457121 w 2333280"/>
                <a:gd name="connsiteY1" fmla="*/ 338799 h 1548286"/>
                <a:gd name="connsiteX2" fmla="*/ 1258587 w 2333280"/>
                <a:gd name="connsiteY2" fmla="*/ 346087 h 1548286"/>
                <a:gd name="connsiteX3" fmla="*/ 1939834 w 2333280"/>
                <a:gd name="connsiteY3" fmla="*/ 342442 h 1548286"/>
                <a:gd name="connsiteX4" fmla="*/ 2333280 w 2333280"/>
                <a:gd name="connsiteY4" fmla="*/ 0 h 1548286"/>
                <a:gd name="connsiteX0" fmla="*/ 53592 w 2326842"/>
                <a:gd name="connsiteY0" fmla="*/ 750463 h 750463"/>
                <a:gd name="connsiteX1" fmla="*/ 450683 w 2326842"/>
                <a:gd name="connsiteY1" fmla="*/ 338799 h 750463"/>
                <a:gd name="connsiteX2" fmla="*/ 1252149 w 2326842"/>
                <a:gd name="connsiteY2" fmla="*/ 346087 h 750463"/>
                <a:gd name="connsiteX3" fmla="*/ 1933396 w 2326842"/>
                <a:gd name="connsiteY3" fmla="*/ 342442 h 750463"/>
                <a:gd name="connsiteX4" fmla="*/ 2326842 w 2326842"/>
                <a:gd name="connsiteY4" fmla="*/ 0 h 750463"/>
                <a:gd name="connsiteX0" fmla="*/ 50602 w 2323852"/>
                <a:gd name="connsiteY0" fmla="*/ 750463 h 750463"/>
                <a:gd name="connsiteX1" fmla="*/ 447693 w 2323852"/>
                <a:gd name="connsiteY1" fmla="*/ 338799 h 750463"/>
                <a:gd name="connsiteX2" fmla="*/ 1249159 w 2323852"/>
                <a:gd name="connsiteY2" fmla="*/ 346087 h 750463"/>
                <a:gd name="connsiteX3" fmla="*/ 1930406 w 2323852"/>
                <a:gd name="connsiteY3" fmla="*/ 342442 h 750463"/>
                <a:gd name="connsiteX4" fmla="*/ 2323852 w 2323852"/>
                <a:gd name="connsiteY4" fmla="*/ 0 h 750463"/>
                <a:gd name="connsiteX0" fmla="*/ 0 w 2273250"/>
                <a:gd name="connsiteY0" fmla="*/ 750463 h 750463"/>
                <a:gd name="connsiteX1" fmla="*/ 397091 w 2273250"/>
                <a:gd name="connsiteY1" fmla="*/ 338799 h 750463"/>
                <a:gd name="connsiteX2" fmla="*/ 1198557 w 2273250"/>
                <a:gd name="connsiteY2" fmla="*/ 346087 h 750463"/>
                <a:gd name="connsiteX3" fmla="*/ 1879804 w 2273250"/>
                <a:gd name="connsiteY3" fmla="*/ 342442 h 750463"/>
                <a:gd name="connsiteX4" fmla="*/ 2273250 w 2273250"/>
                <a:gd name="connsiteY4" fmla="*/ 0 h 750463"/>
                <a:gd name="connsiteX0" fmla="*/ 0 w 2284179"/>
                <a:gd name="connsiteY0" fmla="*/ 750463 h 750463"/>
                <a:gd name="connsiteX1" fmla="*/ 408020 w 2284179"/>
                <a:gd name="connsiteY1" fmla="*/ 338799 h 750463"/>
                <a:gd name="connsiteX2" fmla="*/ 1209486 w 2284179"/>
                <a:gd name="connsiteY2" fmla="*/ 346087 h 750463"/>
                <a:gd name="connsiteX3" fmla="*/ 1890733 w 2284179"/>
                <a:gd name="connsiteY3" fmla="*/ 342442 h 750463"/>
                <a:gd name="connsiteX4" fmla="*/ 2284179 w 2284179"/>
                <a:gd name="connsiteY4" fmla="*/ 0 h 750463"/>
                <a:gd name="connsiteX0" fmla="*/ 14182 w 2298361"/>
                <a:gd name="connsiteY0" fmla="*/ 750463 h 750463"/>
                <a:gd name="connsiteX1" fmla="*/ 36043 w 2298361"/>
                <a:gd name="connsiteY1" fmla="*/ 571954 h 750463"/>
                <a:gd name="connsiteX2" fmla="*/ 422202 w 2298361"/>
                <a:gd name="connsiteY2" fmla="*/ 338799 h 750463"/>
                <a:gd name="connsiteX3" fmla="*/ 1223668 w 2298361"/>
                <a:gd name="connsiteY3" fmla="*/ 346087 h 750463"/>
                <a:gd name="connsiteX4" fmla="*/ 1904915 w 2298361"/>
                <a:gd name="connsiteY4" fmla="*/ 342442 h 750463"/>
                <a:gd name="connsiteX5" fmla="*/ 2298361 w 2298361"/>
                <a:gd name="connsiteY5" fmla="*/ 0 h 750463"/>
                <a:gd name="connsiteX0" fmla="*/ 14182 w 2298361"/>
                <a:gd name="connsiteY0" fmla="*/ 1544644 h 1544644"/>
                <a:gd name="connsiteX1" fmla="*/ 36043 w 2298361"/>
                <a:gd name="connsiteY1" fmla="*/ 571954 h 1544644"/>
                <a:gd name="connsiteX2" fmla="*/ 422202 w 2298361"/>
                <a:gd name="connsiteY2" fmla="*/ 338799 h 1544644"/>
                <a:gd name="connsiteX3" fmla="*/ 1223668 w 2298361"/>
                <a:gd name="connsiteY3" fmla="*/ 346087 h 1544644"/>
                <a:gd name="connsiteX4" fmla="*/ 1904915 w 2298361"/>
                <a:gd name="connsiteY4" fmla="*/ 342442 h 1544644"/>
                <a:gd name="connsiteX5" fmla="*/ 2298361 w 2298361"/>
                <a:gd name="connsiteY5" fmla="*/ 0 h 1544644"/>
                <a:gd name="connsiteX0" fmla="*/ 24062 w 2308241"/>
                <a:gd name="connsiteY0" fmla="*/ 1544644 h 1544644"/>
                <a:gd name="connsiteX1" fmla="*/ 31350 w 2308241"/>
                <a:gd name="connsiteY1" fmla="*/ 735890 h 1544644"/>
                <a:gd name="connsiteX2" fmla="*/ 432082 w 2308241"/>
                <a:gd name="connsiteY2" fmla="*/ 338799 h 1544644"/>
                <a:gd name="connsiteX3" fmla="*/ 1233548 w 2308241"/>
                <a:gd name="connsiteY3" fmla="*/ 346087 h 1544644"/>
                <a:gd name="connsiteX4" fmla="*/ 1914795 w 2308241"/>
                <a:gd name="connsiteY4" fmla="*/ 342442 h 1544644"/>
                <a:gd name="connsiteX5" fmla="*/ 2308241 w 2308241"/>
                <a:gd name="connsiteY5" fmla="*/ 0 h 1544644"/>
                <a:gd name="connsiteX0" fmla="*/ 0 w 2284179"/>
                <a:gd name="connsiteY0" fmla="*/ 1544644 h 1544644"/>
                <a:gd name="connsiteX1" fmla="*/ 7288 w 2284179"/>
                <a:gd name="connsiteY1" fmla="*/ 735890 h 1544644"/>
                <a:gd name="connsiteX2" fmla="*/ 408020 w 2284179"/>
                <a:gd name="connsiteY2" fmla="*/ 338799 h 1544644"/>
                <a:gd name="connsiteX3" fmla="*/ 1209486 w 2284179"/>
                <a:gd name="connsiteY3" fmla="*/ 346087 h 1544644"/>
                <a:gd name="connsiteX4" fmla="*/ 1890733 w 2284179"/>
                <a:gd name="connsiteY4" fmla="*/ 342442 h 1544644"/>
                <a:gd name="connsiteX5" fmla="*/ 2284179 w 2284179"/>
                <a:gd name="connsiteY5" fmla="*/ 0 h 1544644"/>
                <a:gd name="connsiteX0" fmla="*/ 0 w 2284179"/>
                <a:gd name="connsiteY0" fmla="*/ 1544644 h 1544644"/>
                <a:gd name="connsiteX1" fmla="*/ 7288 w 2284179"/>
                <a:gd name="connsiteY1" fmla="*/ 735890 h 1544644"/>
                <a:gd name="connsiteX2" fmla="*/ 408020 w 2284179"/>
                <a:gd name="connsiteY2" fmla="*/ 338799 h 1544644"/>
                <a:gd name="connsiteX3" fmla="*/ 1209486 w 2284179"/>
                <a:gd name="connsiteY3" fmla="*/ 346087 h 1544644"/>
                <a:gd name="connsiteX4" fmla="*/ 1890733 w 2284179"/>
                <a:gd name="connsiteY4" fmla="*/ 342442 h 1544644"/>
                <a:gd name="connsiteX5" fmla="*/ 2284179 w 2284179"/>
                <a:gd name="connsiteY5" fmla="*/ 0 h 1544644"/>
                <a:gd name="connsiteX0" fmla="*/ 0 w 2284179"/>
                <a:gd name="connsiteY0" fmla="*/ 1544644 h 1544644"/>
                <a:gd name="connsiteX1" fmla="*/ 7288 w 2284179"/>
                <a:gd name="connsiteY1" fmla="*/ 735890 h 1544644"/>
                <a:gd name="connsiteX2" fmla="*/ 408020 w 2284179"/>
                <a:gd name="connsiteY2" fmla="*/ 338799 h 1544644"/>
                <a:gd name="connsiteX3" fmla="*/ 1209486 w 2284179"/>
                <a:gd name="connsiteY3" fmla="*/ 346087 h 1544644"/>
                <a:gd name="connsiteX4" fmla="*/ 1890733 w 2284179"/>
                <a:gd name="connsiteY4" fmla="*/ 342442 h 1544644"/>
                <a:gd name="connsiteX5" fmla="*/ 2284179 w 2284179"/>
                <a:gd name="connsiteY5" fmla="*/ 0 h 1544644"/>
                <a:gd name="connsiteX0" fmla="*/ 0 w 2284179"/>
                <a:gd name="connsiteY0" fmla="*/ 1544644 h 1544644"/>
                <a:gd name="connsiteX1" fmla="*/ 7288 w 2284179"/>
                <a:gd name="connsiteY1" fmla="*/ 735890 h 1544644"/>
                <a:gd name="connsiteX2" fmla="*/ 408020 w 2284179"/>
                <a:gd name="connsiteY2" fmla="*/ 338799 h 1544644"/>
                <a:gd name="connsiteX3" fmla="*/ 1209486 w 2284179"/>
                <a:gd name="connsiteY3" fmla="*/ 346087 h 1544644"/>
                <a:gd name="connsiteX4" fmla="*/ 1890733 w 2284179"/>
                <a:gd name="connsiteY4" fmla="*/ 342442 h 1544644"/>
                <a:gd name="connsiteX5" fmla="*/ 2284179 w 2284179"/>
                <a:gd name="connsiteY5" fmla="*/ 0 h 1544644"/>
                <a:gd name="connsiteX0" fmla="*/ 0 w 2284179"/>
                <a:gd name="connsiteY0" fmla="*/ 1544644 h 1544644"/>
                <a:gd name="connsiteX1" fmla="*/ 7288 w 2284179"/>
                <a:gd name="connsiteY1" fmla="*/ 735890 h 1544644"/>
                <a:gd name="connsiteX2" fmla="*/ 408020 w 2284179"/>
                <a:gd name="connsiteY2" fmla="*/ 338799 h 1544644"/>
                <a:gd name="connsiteX3" fmla="*/ 1209486 w 2284179"/>
                <a:gd name="connsiteY3" fmla="*/ 346087 h 1544644"/>
                <a:gd name="connsiteX4" fmla="*/ 1890733 w 2284179"/>
                <a:gd name="connsiteY4" fmla="*/ 342442 h 1544644"/>
                <a:gd name="connsiteX5" fmla="*/ 2284179 w 2284179"/>
                <a:gd name="connsiteY5" fmla="*/ 0 h 1544644"/>
                <a:gd name="connsiteX0" fmla="*/ 0 w 2284179"/>
                <a:gd name="connsiteY0" fmla="*/ 1544644 h 1544644"/>
                <a:gd name="connsiteX1" fmla="*/ 7288 w 2284179"/>
                <a:gd name="connsiteY1" fmla="*/ 735890 h 1544644"/>
                <a:gd name="connsiteX2" fmla="*/ 408020 w 2284179"/>
                <a:gd name="connsiteY2" fmla="*/ 338799 h 1544644"/>
                <a:gd name="connsiteX3" fmla="*/ 1209486 w 2284179"/>
                <a:gd name="connsiteY3" fmla="*/ 346087 h 1544644"/>
                <a:gd name="connsiteX4" fmla="*/ 1890733 w 2284179"/>
                <a:gd name="connsiteY4" fmla="*/ 342442 h 1544644"/>
                <a:gd name="connsiteX5" fmla="*/ 2284179 w 2284179"/>
                <a:gd name="connsiteY5" fmla="*/ 0 h 1544644"/>
                <a:gd name="connsiteX0" fmla="*/ 0 w 2284179"/>
                <a:gd name="connsiteY0" fmla="*/ 1544644 h 1544644"/>
                <a:gd name="connsiteX1" fmla="*/ 7288 w 2284179"/>
                <a:gd name="connsiteY1" fmla="*/ 735890 h 1544644"/>
                <a:gd name="connsiteX2" fmla="*/ 408020 w 2284179"/>
                <a:gd name="connsiteY2" fmla="*/ 344957 h 1544644"/>
                <a:gd name="connsiteX3" fmla="*/ 1209486 w 2284179"/>
                <a:gd name="connsiteY3" fmla="*/ 346087 h 1544644"/>
                <a:gd name="connsiteX4" fmla="*/ 1890733 w 2284179"/>
                <a:gd name="connsiteY4" fmla="*/ 342442 h 1544644"/>
                <a:gd name="connsiteX5" fmla="*/ 2284179 w 2284179"/>
                <a:gd name="connsiteY5" fmla="*/ 0 h 1544644"/>
                <a:gd name="connsiteX0" fmla="*/ 0 w 2284179"/>
                <a:gd name="connsiteY0" fmla="*/ 1544644 h 1544644"/>
                <a:gd name="connsiteX1" fmla="*/ 7288 w 2284179"/>
                <a:gd name="connsiteY1" fmla="*/ 735890 h 1544644"/>
                <a:gd name="connsiteX2" fmla="*/ 408020 w 2284179"/>
                <a:gd name="connsiteY2" fmla="*/ 344957 h 1544644"/>
                <a:gd name="connsiteX3" fmla="*/ 1209486 w 2284179"/>
                <a:gd name="connsiteY3" fmla="*/ 346087 h 1544644"/>
                <a:gd name="connsiteX4" fmla="*/ 1890733 w 2284179"/>
                <a:gd name="connsiteY4" fmla="*/ 342442 h 1544644"/>
                <a:gd name="connsiteX5" fmla="*/ 2284179 w 2284179"/>
                <a:gd name="connsiteY5" fmla="*/ 0 h 1544644"/>
                <a:gd name="connsiteX0" fmla="*/ 0 w 2284179"/>
                <a:gd name="connsiteY0" fmla="*/ 1544644 h 1544644"/>
                <a:gd name="connsiteX1" fmla="*/ 7288 w 2284179"/>
                <a:gd name="connsiteY1" fmla="*/ 735890 h 1544644"/>
                <a:gd name="connsiteX2" fmla="*/ 408020 w 2284179"/>
                <a:gd name="connsiteY2" fmla="*/ 344957 h 1544644"/>
                <a:gd name="connsiteX3" fmla="*/ 1209486 w 2284179"/>
                <a:gd name="connsiteY3" fmla="*/ 346087 h 1544644"/>
                <a:gd name="connsiteX4" fmla="*/ 1879513 w 2284179"/>
                <a:gd name="connsiteY4" fmla="*/ 348052 h 1544644"/>
                <a:gd name="connsiteX5" fmla="*/ 2284179 w 2284179"/>
                <a:gd name="connsiteY5" fmla="*/ 0 h 1544644"/>
                <a:gd name="connsiteX0" fmla="*/ 0 w 2284179"/>
                <a:gd name="connsiteY0" fmla="*/ 1544644 h 1544644"/>
                <a:gd name="connsiteX1" fmla="*/ 7288 w 2284179"/>
                <a:gd name="connsiteY1" fmla="*/ 735890 h 1544644"/>
                <a:gd name="connsiteX2" fmla="*/ 408020 w 2284179"/>
                <a:gd name="connsiteY2" fmla="*/ 344957 h 1544644"/>
                <a:gd name="connsiteX3" fmla="*/ 1209486 w 2284179"/>
                <a:gd name="connsiteY3" fmla="*/ 346087 h 1544644"/>
                <a:gd name="connsiteX4" fmla="*/ 1885123 w 2284179"/>
                <a:gd name="connsiteY4" fmla="*/ 339637 h 1544644"/>
                <a:gd name="connsiteX5" fmla="*/ 2284179 w 2284179"/>
                <a:gd name="connsiteY5" fmla="*/ 0 h 1544644"/>
                <a:gd name="connsiteX0" fmla="*/ 0 w 2284179"/>
                <a:gd name="connsiteY0" fmla="*/ 1544644 h 1544644"/>
                <a:gd name="connsiteX1" fmla="*/ 7288 w 2284179"/>
                <a:gd name="connsiteY1" fmla="*/ 735890 h 1544644"/>
                <a:gd name="connsiteX2" fmla="*/ 408020 w 2284179"/>
                <a:gd name="connsiteY2" fmla="*/ 344957 h 1544644"/>
                <a:gd name="connsiteX3" fmla="*/ 1209486 w 2284179"/>
                <a:gd name="connsiteY3" fmla="*/ 346087 h 1544644"/>
                <a:gd name="connsiteX4" fmla="*/ 1885123 w 2284179"/>
                <a:gd name="connsiteY4" fmla="*/ 342018 h 1544644"/>
                <a:gd name="connsiteX5" fmla="*/ 2284179 w 2284179"/>
                <a:gd name="connsiteY5" fmla="*/ 0 h 1544644"/>
                <a:gd name="connsiteX0" fmla="*/ 0 w 2284179"/>
                <a:gd name="connsiteY0" fmla="*/ 1544644 h 1544644"/>
                <a:gd name="connsiteX1" fmla="*/ 7288 w 2284179"/>
                <a:gd name="connsiteY1" fmla="*/ 735890 h 1544644"/>
                <a:gd name="connsiteX2" fmla="*/ 408020 w 2284179"/>
                <a:gd name="connsiteY2" fmla="*/ 344957 h 1544644"/>
                <a:gd name="connsiteX3" fmla="*/ 1209486 w 2284179"/>
                <a:gd name="connsiteY3" fmla="*/ 346087 h 1544644"/>
                <a:gd name="connsiteX4" fmla="*/ 1885123 w 2284179"/>
                <a:gd name="connsiteY4" fmla="*/ 344399 h 1544644"/>
                <a:gd name="connsiteX5" fmla="*/ 2284179 w 2284179"/>
                <a:gd name="connsiteY5" fmla="*/ 0 h 1544644"/>
                <a:gd name="connsiteX0" fmla="*/ 0 w 2284179"/>
                <a:gd name="connsiteY0" fmla="*/ 1544644 h 1544644"/>
                <a:gd name="connsiteX1" fmla="*/ 7288 w 2284179"/>
                <a:gd name="connsiteY1" fmla="*/ 735890 h 1544644"/>
                <a:gd name="connsiteX2" fmla="*/ 408020 w 2284179"/>
                <a:gd name="connsiteY2" fmla="*/ 344957 h 1544644"/>
                <a:gd name="connsiteX3" fmla="*/ 1209486 w 2284179"/>
                <a:gd name="connsiteY3" fmla="*/ 346087 h 1544644"/>
                <a:gd name="connsiteX4" fmla="*/ 1887505 w 2284179"/>
                <a:gd name="connsiteY4" fmla="*/ 349162 h 1544644"/>
                <a:gd name="connsiteX5" fmla="*/ 2284179 w 2284179"/>
                <a:gd name="connsiteY5" fmla="*/ 0 h 1544644"/>
                <a:gd name="connsiteX0" fmla="*/ 0 w 2284179"/>
                <a:gd name="connsiteY0" fmla="*/ 1544644 h 1544644"/>
                <a:gd name="connsiteX1" fmla="*/ 7288 w 2284179"/>
                <a:gd name="connsiteY1" fmla="*/ 735890 h 1544644"/>
                <a:gd name="connsiteX2" fmla="*/ 408020 w 2284179"/>
                <a:gd name="connsiteY2" fmla="*/ 344957 h 1544644"/>
                <a:gd name="connsiteX3" fmla="*/ 1209486 w 2284179"/>
                <a:gd name="connsiteY3" fmla="*/ 346087 h 1544644"/>
                <a:gd name="connsiteX4" fmla="*/ 1887505 w 2284179"/>
                <a:gd name="connsiteY4" fmla="*/ 346780 h 1544644"/>
                <a:gd name="connsiteX5" fmla="*/ 2284179 w 2284179"/>
                <a:gd name="connsiteY5" fmla="*/ 0 h 1544644"/>
                <a:gd name="connsiteX0" fmla="*/ 0 w 2284179"/>
                <a:gd name="connsiteY0" fmla="*/ 1544644 h 1544644"/>
                <a:gd name="connsiteX1" fmla="*/ 7288 w 2284179"/>
                <a:gd name="connsiteY1" fmla="*/ 735890 h 1544644"/>
                <a:gd name="connsiteX2" fmla="*/ 410402 w 2284179"/>
                <a:gd name="connsiteY2" fmla="*/ 347339 h 1544644"/>
                <a:gd name="connsiteX3" fmla="*/ 1209486 w 2284179"/>
                <a:gd name="connsiteY3" fmla="*/ 346087 h 1544644"/>
                <a:gd name="connsiteX4" fmla="*/ 1887505 w 2284179"/>
                <a:gd name="connsiteY4" fmla="*/ 346780 h 1544644"/>
                <a:gd name="connsiteX5" fmla="*/ 2284179 w 2284179"/>
                <a:gd name="connsiteY5" fmla="*/ 0 h 1544644"/>
                <a:gd name="connsiteX0" fmla="*/ 6070 w 2277757"/>
                <a:gd name="connsiteY0" fmla="*/ 1539647 h 1539647"/>
                <a:gd name="connsiteX1" fmla="*/ 866 w 2277757"/>
                <a:gd name="connsiteY1" fmla="*/ 735890 h 1539647"/>
                <a:gd name="connsiteX2" fmla="*/ 403980 w 2277757"/>
                <a:gd name="connsiteY2" fmla="*/ 347339 h 1539647"/>
                <a:gd name="connsiteX3" fmla="*/ 1203064 w 2277757"/>
                <a:gd name="connsiteY3" fmla="*/ 346087 h 1539647"/>
                <a:gd name="connsiteX4" fmla="*/ 1881083 w 2277757"/>
                <a:gd name="connsiteY4" fmla="*/ 346780 h 1539647"/>
                <a:gd name="connsiteX5" fmla="*/ 2277757 w 2277757"/>
                <a:gd name="connsiteY5" fmla="*/ 0 h 1539647"/>
                <a:gd name="connsiteX0" fmla="*/ 6070 w 2277757"/>
                <a:gd name="connsiteY0" fmla="*/ 1539647 h 1539647"/>
                <a:gd name="connsiteX1" fmla="*/ 866 w 2277757"/>
                <a:gd name="connsiteY1" fmla="*/ 735890 h 1539647"/>
                <a:gd name="connsiteX2" fmla="*/ 403980 w 2277757"/>
                <a:gd name="connsiteY2" fmla="*/ 347339 h 1539647"/>
                <a:gd name="connsiteX3" fmla="*/ 1203064 w 2277757"/>
                <a:gd name="connsiteY3" fmla="*/ 346087 h 1539647"/>
                <a:gd name="connsiteX4" fmla="*/ 1881083 w 2277757"/>
                <a:gd name="connsiteY4" fmla="*/ 346780 h 1539647"/>
                <a:gd name="connsiteX5" fmla="*/ 2277757 w 2277757"/>
                <a:gd name="connsiteY5" fmla="*/ 0 h 1539647"/>
                <a:gd name="connsiteX0" fmla="*/ 6070 w 2277757"/>
                <a:gd name="connsiteY0" fmla="*/ 1539647 h 1539647"/>
                <a:gd name="connsiteX1" fmla="*/ 866 w 2277757"/>
                <a:gd name="connsiteY1" fmla="*/ 735890 h 1539647"/>
                <a:gd name="connsiteX2" fmla="*/ 403980 w 2277757"/>
                <a:gd name="connsiteY2" fmla="*/ 347339 h 1539647"/>
                <a:gd name="connsiteX3" fmla="*/ 1203064 w 2277757"/>
                <a:gd name="connsiteY3" fmla="*/ 346087 h 1539647"/>
                <a:gd name="connsiteX4" fmla="*/ 1881083 w 2277757"/>
                <a:gd name="connsiteY4" fmla="*/ 346780 h 1539647"/>
                <a:gd name="connsiteX5" fmla="*/ 2277757 w 2277757"/>
                <a:gd name="connsiteY5" fmla="*/ 0 h 1539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77757" h="1539647">
                  <a:moveTo>
                    <a:pt x="6070" y="1539647"/>
                  </a:moveTo>
                  <a:cubicBezTo>
                    <a:pt x="2218" y="735405"/>
                    <a:pt x="2080" y="964794"/>
                    <a:pt x="866" y="735890"/>
                  </a:cubicBezTo>
                  <a:cubicBezTo>
                    <a:pt x="-14921" y="452340"/>
                    <a:pt x="187828" y="348552"/>
                    <a:pt x="403980" y="347339"/>
                  </a:cubicBezTo>
                  <a:lnTo>
                    <a:pt x="1203064" y="346087"/>
                  </a:lnTo>
                  <a:lnTo>
                    <a:pt x="1881083" y="346780"/>
                  </a:lnTo>
                  <a:cubicBezTo>
                    <a:pt x="2242350" y="343744"/>
                    <a:pt x="2266828" y="79539"/>
                    <a:pt x="2277757" y="0"/>
                  </a:cubicBezTo>
                </a:path>
              </a:pathLst>
            </a:custGeom>
            <a:noFill/>
            <a:ln>
              <a:solidFill>
                <a:schemeClr val="tx2"/>
              </a:solidFill>
              <a:headEnd type="oval" w="med" len="med"/>
              <a:tailEnd type="oval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2" name="Freeform 196"/>
            <p:cNvSpPr/>
            <p:nvPr/>
          </p:nvSpPr>
          <p:spPr>
            <a:xfrm flipH="1">
              <a:off x="8729998" y="3315797"/>
              <a:ext cx="2277757" cy="1539647"/>
            </a:xfrm>
            <a:custGeom>
              <a:avLst/>
              <a:gdLst>
                <a:gd name="connsiteX0" fmla="*/ 0 w 112934"/>
                <a:gd name="connsiteY0" fmla="*/ 0 h 69217"/>
                <a:gd name="connsiteX1" fmla="*/ 43717 w 112934"/>
                <a:gd name="connsiteY1" fmla="*/ 18215 h 69217"/>
                <a:gd name="connsiteX2" fmla="*/ 112934 w 112934"/>
                <a:gd name="connsiteY2" fmla="*/ 69217 h 69217"/>
                <a:gd name="connsiteX0" fmla="*/ 130924 w 2418746"/>
                <a:gd name="connsiteY0" fmla="*/ 0 h 109291"/>
                <a:gd name="connsiteX1" fmla="*/ 174641 w 2418746"/>
                <a:gd name="connsiteY1" fmla="*/ 18215 h 109291"/>
                <a:gd name="connsiteX2" fmla="*/ 2418746 w 2418746"/>
                <a:gd name="connsiteY2" fmla="*/ 109291 h 109291"/>
                <a:gd name="connsiteX0" fmla="*/ 121571 w 2423965"/>
                <a:gd name="connsiteY0" fmla="*/ 1383907 h 1383967"/>
                <a:gd name="connsiteX1" fmla="*/ 179860 w 2423965"/>
                <a:gd name="connsiteY1" fmla="*/ 76060 h 1383967"/>
                <a:gd name="connsiteX2" fmla="*/ 2423965 w 2423965"/>
                <a:gd name="connsiteY2" fmla="*/ 167136 h 1383967"/>
                <a:gd name="connsiteX0" fmla="*/ 0 w 2302394"/>
                <a:gd name="connsiteY0" fmla="*/ 1220236 h 1220335"/>
                <a:gd name="connsiteX1" fmla="*/ 1216772 w 2302394"/>
                <a:gd name="connsiteY1" fmla="*/ 349552 h 1220335"/>
                <a:gd name="connsiteX2" fmla="*/ 2302394 w 2302394"/>
                <a:gd name="connsiteY2" fmla="*/ 3465 h 1220335"/>
                <a:gd name="connsiteX0" fmla="*/ 0 w 2302394"/>
                <a:gd name="connsiteY0" fmla="*/ 1218509 h 1218586"/>
                <a:gd name="connsiteX1" fmla="*/ 1216772 w 2302394"/>
                <a:gd name="connsiteY1" fmla="*/ 347825 h 1218586"/>
                <a:gd name="connsiteX2" fmla="*/ 2302394 w 2302394"/>
                <a:gd name="connsiteY2" fmla="*/ 1738 h 1218586"/>
                <a:gd name="connsiteX0" fmla="*/ 0 w 2302394"/>
                <a:gd name="connsiteY0" fmla="*/ 1216771 h 1216848"/>
                <a:gd name="connsiteX1" fmla="*/ 1216772 w 2302394"/>
                <a:gd name="connsiteY1" fmla="*/ 346087 h 1216848"/>
                <a:gd name="connsiteX2" fmla="*/ 2302394 w 2302394"/>
                <a:gd name="connsiteY2" fmla="*/ 0 h 1216848"/>
                <a:gd name="connsiteX0" fmla="*/ 0 w 2302394"/>
                <a:gd name="connsiteY0" fmla="*/ 1216771 h 1216771"/>
                <a:gd name="connsiteX1" fmla="*/ 1216772 w 2302394"/>
                <a:gd name="connsiteY1" fmla="*/ 346087 h 1216771"/>
                <a:gd name="connsiteX2" fmla="*/ 2302394 w 2302394"/>
                <a:gd name="connsiteY2" fmla="*/ 0 h 1216771"/>
                <a:gd name="connsiteX0" fmla="*/ 0 w 2287822"/>
                <a:gd name="connsiteY0" fmla="*/ 1216771 h 1216771"/>
                <a:gd name="connsiteX1" fmla="*/ 1202200 w 2287822"/>
                <a:gd name="connsiteY1" fmla="*/ 346087 h 1216771"/>
                <a:gd name="connsiteX2" fmla="*/ 2287822 w 2287822"/>
                <a:gd name="connsiteY2" fmla="*/ 0 h 1216771"/>
                <a:gd name="connsiteX0" fmla="*/ 0 w 2295108"/>
                <a:gd name="connsiteY0" fmla="*/ 1220414 h 1220414"/>
                <a:gd name="connsiteX1" fmla="*/ 1209486 w 2295108"/>
                <a:gd name="connsiteY1" fmla="*/ 346087 h 1220414"/>
                <a:gd name="connsiteX2" fmla="*/ 2295108 w 2295108"/>
                <a:gd name="connsiteY2" fmla="*/ 0 h 1220414"/>
                <a:gd name="connsiteX0" fmla="*/ 0 w 2295108"/>
                <a:gd name="connsiteY0" fmla="*/ 1220414 h 1220414"/>
                <a:gd name="connsiteX1" fmla="*/ 1209486 w 2295108"/>
                <a:gd name="connsiteY1" fmla="*/ 346087 h 1220414"/>
                <a:gd name="connsiteX2" fmla="*/ 2295108 w 2295108"/>
                <a:gd name="connsiteY2" fmla="*/ 0 h 1220414"/>
                <a:gd name="connsiteX0" fmla="*/ 0 w 2295108"/>
                <a:gd name="connsiteY0" fmla="*/ 1220414 h 1220414"/>
                <a:gd name="connsiteX1" fmla="*/ 1209486 w 2295108"/>
                <a:gd name="connsiteY1" fmla="*/ 346087 h 1220414"/>
                <a:gd name="connsiteX2" fmla="*/ 2295108 w 2295108"/>
                <a:gd name="connsiteY2" fmla="*/ 0 h 1220414"/>
                <a:gd name="connsiteX0" fmla="*/ 0 w 2284179"/>
                <a:gd name="connsiteY0" fmla="*/ 1220414 h 1220414"/>
                <a:gd name="connsiteX1" fmla="*/ 1209486 w 2284179"/>
                <a:gd name="connsiteY1" fmla="*/ 346087 h 1220414"/>
                <a:gd name="connsiteX2" fmla="*/ 2284179 w 2284179"/>
                <a:gd name="connsiteY2" fmla="*/ 0 h 1220414"/>
                <a:gd name="connsiteX0" fmla="*/ 0 w 2284179"/>
                <a:gd name="connsiteY0" fmla="*/ 1220414 h 1220414"/>
                <a:gd name="connsiteX1" fmla="*/ 1209486 w 2284179"/>
                <a:gd name="connsiteY1" fmla="*/ 346087 h 1220414"/>
                <a:gd name="connsiteX2" fmla="*/ 2284179 w 2284179"/>
                <a:gd name="connsiteY2" fmla="*/ 0 h 1220414"/>
                <a:gd name="connsiteX0" fmla="*/ 0 w 2284179"/>
                <a:gd name="connsiteY0" fmla="*/ 1220414 h 1220414"/>
                <a:gd name="connsiteX1" fmla="*/ 1209486 w 2284179"/>
                <a:gd name="connsiteY1" fmla="*/ 346087 h 1220414"/>
                <a:gd name="connsiteX2" fmla="*/ 2284179 w 2284179"/>
                <a:gd name="connsiteY2" fmla="*/ 0 h 1220414"/>
                <a:gd name="connsiteX0" fmla="*/ 0 w 2284179"/>
                <a:gd name="connsiteY0" fmla="*/ 1220414 h 1220414"/>
                <a:gd name="connsiteX1" fmla="*/ 1209486 w 2284179"/>
                <a:gd name="connsiteY1" fmla="*/ 346087 h 1220414"/>
                <a:gd name="connsiteX2" fmla="*/ 2284179 w 2284179"/>
                <a:gd name="connsiteY2" fmla="*/ 0 h 1220414"/>
                <a:gd name="connsiteX0" fmla="*/ 0 w 2284179"/>
                <a:gd name="connsiteY0" fmla="*/ 1220414 h 1220414"/>
                <a:gd name="connsiteX1" fmla="*/ 1209486 w 2284179"/>
                <a:gd name="connsiteY1" fmla="*/ 346087 h 1220414"/>
                <a:gd name="connsiteX2" fmla="*/ 2284179 w 2284179"/>
                <a:gd name="connsiteY2" fmla="*/ 0 h 1220414"/>
                <a:gd name="connsiteX0" fmla="*/ 0 w 2284179"/>
                <a:gd name="connsiteY0" fmla="*/ 1220414 h 1220414"/>
                <a:gd name="connsiteX1" fmla="*/ 1209486 w 2284179"/>
                <a:gd name="connsiteY1" fmla="*/ 346087 h 1220414"/>
                <a:gd name="connsiteX2" fmla="*/ 2284179 w 2284179"/>
                <a:gd name="connsiteY2" fmla="*/ 0 h 1220414"/>
                <a:gd name="connsiteX0" fmla="*/ 0 w 2284179"/>
                <a:gd name="connsiteY0" fmla="*/ 1220414 h 1220414"/>
                <a:gd name="connsiteX1" fmla="*/ 801467 w 2284179"/>
                <a:gd name="connsiteY1" fmla="*/ 349728 h 1220414"/>
                <a:gd name="connsiteX2" fmla="*/ 1209486 w 2284179"/>
                <a:gd name="connsiteY2" fmla="*/ 346087 h 1220414"/>
                <a:gd name="connsiteX3" fmla="*/ 2284179 w 2284179"/>
                <a:gd name="connsiteY3" fmla="*/ 0 h 1220414"/>
                <a:gd name="connsiteX0" fmla="*/ 0 w 2284179"/>
                <a:gd name="connsiteY0" fmla="*/ 1220414 h 1220414"/>
                <a:gd name="connsiteX1" fmla="*/ 408020 w 2284179"/>
                <a:gd name="connsiteY1" fmla="*/ 338799 h 1220414"/>
                <a:gd name="connsiteX2" fmla="*/ 1209486 w 2284179"/>
                <a:gd name="connsiteY2" fmla="*/ 346087 h 1220414"/>
                <a:gd name="connsiteX3" fmla="*/ 2284179 w 2284179"/>
                <a:gd name="connsiteY3" fmla="*/ 0 h 1220414"/>
                <a:gd name="connsiteX0" fmla="*/ 0 w 2284179"/>
                <a:gd name="connsiteY0" fmla="*/ 1220414 h 1220414"/>
                <a:gd name="connsiteX1" fmla="*/ 408020 w 2284179"/>
                <a:gd name="connsiteY1" fmla="*/ 338799 h 1220414"/>
                <a:gd name="connsiteX2" fmla="*/ 1209486 w 2284179"/>
                <a:gd name="connsiteY2" fmla="*/ 346087 h 1220414"/>
                <a:gd name="connsiteX3" fmla="*/ 1803300 w 2284179"/>
                <a:gd name="connsiteY3" fmla="*/ 302369 h 1220414"/>
                <a:gd name="connsiteX4" fmla="*/ 2284179 w 2284179"/>
                <a:gd name="connsiteY4" fmla="*/ 0 h 1220414"/>
                <a:gd name="connsiteX0" fmla="*/ 0 w 2284179"/>
                <a:gd name="connsiteY0" fmla="*/ 1220414 h 1220414"/>
                <a:gd name="connsiteX1" fmla="*/ 408020 w 2284179"/>
                <a:gd name="connsiteY1" fmla="*/ 338799 h 1220414"/>
                <a:gd name="connsiteX2" fmla="*/ 1209486 w 2284179"/>
                <a:gd name="connsiteY2" fmla="*/ 346087 h 1220414"/>
                <a:gd name="connsiteX3" fmla="*/ 1890733 w 2284179"/>
                <a:gd name="connsiteY3" fmla="*/ 342442 h 1220414"/>
                <a:gd name="connsiteX4" fmla="*/ 2284179 w 2284179"/>
                <a:gd name="connsiteY4" fmla="*/ 0 h 1220414"/>
                <a:gd name="connsiteX0" fmla="*/ 0 w 2284179"/>
                <a:gd name="connsiteY0" fmla="*/ 1220414 h 1220414"/>
                <a:gd name="connsiteX1" fmla="*/ 408020 w 2284179"/>
                <a:gd name="connsiteY1" fmla="*/ 338799 h 1220414"/>
                <a:gd name="connsiteX2" fmla="*/ 1209486 w 2284179"/>
                <a:gd name="connsiteY2" fmla="*/ 346087 h 1220414"/>
                <a:gd name="connsiteX3" fmla="*/ 1890733 w 2284179"/>
                <a:gd name="connsiteY3" fmla="*/ 342442 h 1220414"/>
                <a:gd name="connsiteX4" fmla="*/ 2284179 w 2284179"/>
                <a:gd name="connsiteY4" fmla="*/ 0 h 1220414"/>
                <a:gd name="connsiteX0" fmla="*/ 0 w 2284179"/>
                <a:gd name="connsiteY0" fmla="*/ 1220414 h 1220414"/>
                <a:gd name="connsiteX1" fmla="*/ 408020 w 2284179"/>
                <a:gd name="connsiteY1" fmla="*/ 338799 h 1220414"/>
                <a:gd name="connsiteX2" fmla="*/ 1209486 w 2284179"/>
                <a:gd name="connsiteY2" fmla="*/ 346087 h 1220414"/>
                <a:gd name="connsiteX3" fmla="*/ 1890733 w 2284179"/>
                <a:gd name="connsiteY3" fmla="*/ 342442 h 1220414"/>
                <a:gd name="connsiteX4" fmla="*/ 2284179 w 2284179"/>
                <a:gd name="connsiteY4" fmla="*/ 0 h 1220414"/>
                <a:gd name="connsiteX0" fmla="*/ 0 w 2284179"/>
                <a:gd name="connsiteY0" fmla="*/ 1220414 h 1220414"/>
                <a:gd name="connsiteX1" fmla="*/ 408020 w 2284179"/>
                <a:gd name="connsiteY1" fmla="*/ 338799 h 1220414"/>
                <a:gd name="connsiteX2" fmla="*/ 1209486 w 2284179"/>
                <a:gd name="connsiteY2" fmla="*/ 346087 h 1220414"/>
                <a:gd name="connsiteX3" fmla="*/ 1890733 w 2284179"/>
                <a:gd name="connsiteY3" fmla="*/ 342442 h 1220414"/>
                <a:gd name="connsiteX4" fmla="*/ 2284179 w 2284179"/>
                <a:gd name="connsiteY4" fmla="*/ 0 h 1220414"/>
                <a:gd name="connsiteX0" fmla="*/ 0 w 2284179"/>
                <a:gd name="connsiteY0" fmla="*/ 1220414 h 1220414"/>
                <a:gd name="connsiteX1" fmla="*/ 408020 w 2284179"/>
                <a:gd name="connsiteY1" fmla="*/ 338799 h 1220414"/>
                <a:gd name="connsiteX2" fmla="*/ 1209486 w 2284179"/>
                <a:gd name="connsiteY2" fmla="*/ 346087 h 1220414"/>
                <a:gd name="connsiteX3" fmla="*/ 1890733 w 2284179"/>
                <a:gd name="connsiteY3" fmla="*/ 342442 h 1220414"/>
                <a:gd name="connsiteX4" fmla="*/ 2284179 w 2284179"/>
                <a:gd name="connsiteY4" fmla="*/ 0 h 1220414"/>
                <a:gd name="connsiteX0" fmla="*/ 0 w 2284179"/>
                <a:gd name="connsiteY0" fmla="*/ 1548286 h 1548286"/>
                <a:gd name="connsiteX1" fmla="*/ 408020 w 2284179"/>
                <a:gd name="connsiteY1" fmla="*/ 338799 h 1548286"/>
                <a:gd name="connsiteX2" fmla="*/ 1209486 w 2284179"/>
                <a:gd name="connsiteY2" fmla="*/ 346087 h 1548286"/>
                <a:gd name="connsiteX3" fmla="*/ 1890733 w 2284179"/>
                <a:gd name="connsiteY3" fmla="*/ 342442 h 1548286"/>
                <a:gd name="connsiteX4" fmla="*/ 2284179 w 2284179"/>
                <a:gd name="connsiteY4" fmla="*/ 0 h 1548286"/>
                <a:gd name="connsiteX0" fmla="*/ 49101 w 2333280"/>
                <a:gd name="connsiteY0" fmla="*/ 1548286 h 1548286"/>
                <a:gd name="connsiteX1" fmla="*/ 457121 w 2333280"/>
                <a:gd name="connsiteY1" fmla="*/ 338799 h 1548286"/>
                <a:gd name="connsiteX2" fmla="*/ 1258587 w 2333280"/>
                <a:gd name="connsiteY2" fmla="*/ 346087 h 1548286"/>
                <a:gd name="connsiteX3" fmla="*/ 1939834 w 2333280"/>
                <a:gd name="connsiteY3" fmla="*/ 342442 h 1548286"/>
                <a:gd name="connsiteX4" fmla="*/ 2333280 w 2333280"/>
                <a:gd name="connsiteY4" fmla="*/ 0 h 1548286"/>
                <a:gd name="connsiteX0" fmla="*/ 49101 w 2333280"/>
                <a:gd name="connsiteY0" fmla="*/ 1548286 h 1548286"/>
                <a:gd name="connsiteX1" fmla="*/ 457121 w 2333280"/>
                <a:gd name="connsiteY1" fmla="*/ 338799 h 1548286"/>
                <a:gd name="connsiteX2" fmla="*/ 1258587 w 2333280"/>
                <a:gd name="connsiteY2" fmla="*/ 346087 h 1548286"/>
                <a:gd name="connsiteX3" fmla="*/ 1939834 w 2333280"/>
                <a:gd name="connsiteY3" fmla="*/ 342442 h 1548286"/>
                <a:gd name="connsiteX4" fmla="*/ 2333280 w 2333280"/>
                <a:gd name="connsiteY4" fmla="*/ 0 h 1548286"/>
                <a:gd name="connsiteX0" fmla="*/ 53592 w 2326842"/>
                <a:gd name="connsiteY0" fmla="*/ 750463 h 750463"/>
                <a:gd name="connsiteX1" fmla="*/ 450683 w 2326842"/>
                <a:gd name="connsiteY1" fmla="*/ 338799 h 750463"/>
                <a:gd name="connsiteX2" fmla="*/ 1252149 w 2326842"/>
                <a:gd name="connsiteY2" fmla="*/ 346087 h 750463"/>
                <a:gd name="connsiteX3" fmla="*/ 1933396 w 2326842"/>
                <a:gd name="connsiteY3" fmla="*/ 342442 h 750463"/>
                <a:gd name="connsiteX4" fmla="*/ 2326842 w 2326842"/>
                <a:gd name="connsiteY4" fmla="*/ 0 h 750463"/>
                <a:gd name="connsiteX0" fmla="*/ 50602 w 2323852"/>
                <a:gd name="connsiteY0" fmla="*/ 750463 h 750463"/>
                <a:gd name="connsiteX1" fmla="*/ 447693 w 2323852"/>
                <a:gd name="connsiteY1" fmla="*/ 338799 h 750463"/>
                <a:gd name="connsiteX2" fmla="*/ 1249159 w 2323852"/>
                <a:gd name="connsiteY2" fmla="*/ 346087 h 750463"/>
                <a:gd name="connsiteX3" fmla="*/ 1930406 w 2323852"/>
                <a:gd name="connsiteY3" fmla="*/ 342442 h 750463"/>
                <a:gd name="connsiteX4" fmla="*/ 2323852 w 2323852"/>
                <a:gd name="connsiteY4" fmla="*/ 0 h 750463"/>
                <a:gd name="connsiteX0" fmla="*/ 0 w 2273250"/>
                <a:gd name="connsiteY0" fmla="*/ 750463 h 750463"/>
                <a:gd name="connsiteX1" fmla="*/ 397091 w 2273250"/>
                <a:gd name="connsiteY1" fmla="*/ 338799 h 750463"/>
                <a:gd name="connsiteX2" fmla="*/ 1198557 w 2273250"/>
                <a:gd name="connsiteY2" fmla="*/ 346087 h 750463"/>
                <a:gd name="connsiteX3" fmla="*/ 1879804 w 2273250"/>
                <a:gd name="connsiteY3" fmla="*/ 342442 h 750463"/>
                <a:gd name="connsiteX4" fmla="*/ 2273250 w 2273250"/>
                <a:gd name="connsiteY4" fmla="*/ 0 h 750463"/>
                <a:gd name="connsiteX0" fmla="*/ 0 w 2284179"/>
                <a:gd name="connsiteY0" fmla="*/ 750463 h 750463"/>
                <a:gd name="connsiteX1" fmla="*/ 408020 w 2284179"/>
                <a:gd name="connsiteY1" fmla="*/ 338799 h 750463"/>
                <a:gd name="connsiteX2" fmla="*/ 1209486 w 2284179"/>
                <a:gd name="connsiteY2" fmla="*/ 346087 h 750463"/>
                <a:gd name="connsiteX3" fmla="*/ 1890733 w 2284179"/>
                <a:gd name="connsiteY3" fmla="*/ 342442 h 750463"/>
                <a:gd name="connsiteX4" fmla="*/ 2284179 w 2284179"/>
                <a:gd name="connsiteY4" fmla="*/ 0 h 750463"/>
                <a:gd name="connsiteX0" fmla="*/ 14182 w 2298361"/>
                <a:gd name="connsiteY0" fmla="*/ 750463 h 750463"/>
                <a:gd name="connsiteX1" fmla="*/ 36043 w 2298361"/>
                <a:gd name="connsiteY1" fmla="*/ 571954 h 750463"/>
                <a:gd name="connsiteX2" fmla="*/ 422202 w 2298361"/>
                <a:gd name="connsiteY2" fmla="*/ 338799 h 750463"/>
                <a:gd name="connsiteX3" fmla="*/ 1223668 w 2298361"/>
                <a:gd name="connsiteY3" fmla="*/ 346087 h 750463"/>
                <a:gd name="connsiteX4" fmla="*/ 1904915 w 2298361"/>
                <a:gd name="connsiteY4" fmla="*/ 342442 h 750463"/>
                <a:gd name="connsiteX5" fmla="*/ 2298361 w 2298361"/>
                <a:gd name="connsiteY5" fmla="*/ 0 h 750463"/>
                <a:gd name="connsiteX0" fmla="*/ 14182 w 2298361"/>
                <a:gd name="connsiteY0" fmla="*/ 1544644 h 1544644"/>
                <a:gd name="connsiteX1" fmla="*/ 36043 w 2298361"/>
                <a:gd name="connsiteY1" fmla="*/ 571954 h 1544644"/>
                <a:gd name="connsiteX2" fmla="*/ 422202 w 2298361"/>
                <a:gd name="connsiteY2" fmla="*/ 338799 h 1544644"/>
                <a:gd name="connsiteX3" fmla="*/ 1223668 w 2298361"/>
                <a:gd name="connsiteY3" fmla="*/ 346087 h 1544644"/>
                <a:gd name="connsiteX4" fmla="*/ 1904915 w 2298361"/>
                <a:gd name="connsiteY4" fmla="*/ 342442 h 1544644"/>
                <a:gd name="connsiteX5" fmla="*/ 2298361 w 2298361"/>
                <a:gd name="connsiteY5" fmla="*/ 0 h 1544644"/>
                <a:gd name="connsiteX0" fmla="*/ 24062 w 2308241"/>
                <a:gd name="connsiteY0" fmla="*/ 1544644 h 1544644"/>
                <a:gd name="connsiteX1" fmla="*/ 31350 w 2308241"/>
                <a:gd name="connsiteY1" fmla="*/ 735890 h 1544644"/>
                <a:gd name="connsiteX2" fmla="*/ 432082 w 2308241"/>
                <a:gd name="connsiteY2" fmla="*/ 338799 h 1544644"/>
                <a:gd name="connsiteX3" fmla="*/ 1233548 w 2308241"/>
                <a:gd name="connsiteY3" fmla="*/ 346087 h 1544644"/>
                <a:gd name="connsiteX4" fmla="*/ 1914795 w 2308241"/>
                <a:gd name="connsiteY4" fmla="*/ 342442 h 1544644"/>
                <a:gd name="connsiteX5" fmla="*/ 2308241 w 2308241"/>
                <a:gd name="connsiteY5" fmla="*/ 0 h 1544644"/>
                <a:gd name="connsiteX0" fmla="*/ 0 w 2284179"/>
                <a:gd name="connsiteY0" fmla="*/ 1544644 h 1544644"/>
                <a:gd name="connsiteX1" fmla="*/ 7288 w 2284179"/>
                <a:gd name="connsiteY1" fmla="*/ 735890 h 1544644"/>
                <a:gd name="connsiteX2" fmla="*/ 408020 w 2284179"/>
                <a:gd name="connsiteY2" fmla="*/ 338799 h 1544644"/>
                <a:gd name="connsiteX3" fmla="*/ 1209486 w 2284179"/>
                <a:gd name="connsiteY3" fmla="*/ 346087 h 1544644"/>
                <a:gd name="connsiteX4" fmla="*/ 1890733 w 2284179"/>
                <a:gd name="connsiteY4" fmla="*/ 342442 h 1544644"/>
                <a:gd name="connsiteX5" fmla="*/ 2284179 w 2284179"/>
                <a:gd name="connsiteY5" fmla="*/ 0 h 1544644"/>
                <a:gd name="connsiteX0" fmla="*/ 0 w 2284179"/>
                <a:gd name="connsiteY0" fmla="*/ 1544644 h 1544644"/>
                <a:gd name="connsiteX1" fmla="*/ 7288 w 2284179"/>
                <a:gd name="connsiteY1" fmla="*/ 735890 h 1544644"/>
                <a:gd name="connsiteX2" fmla="*/ 408020 w 2284179"/>
                <a:gd name="connsiteY2" fmla="*/ 338799 h 1544644"/>
                <a:gd name="connsiteX3" fmla="*/ 1209486 w 2284179"/>
                <a:gd name="connsiteY3" fmla="*/ 346087 h 1544644"/>
                <a:gd name="connsiteX4" fmla="*/ 1890733 w 2284179"/>
                <a:gd name="connsiteY4" fmla="*/ 342442 h 1544644"/>
                <a:gd name="connsiteX5" fmla="*/ 2284179 w 2284179"/>
                <a:gd name="connsiteY5" fmla="*/ 0 h 1544644"/>
                <a:gd name="connsiteX0" fmla="*/ 0 w 2284179"/>
                <a:gd name="connsiteY0" fmla="*/ 1544644 h 1544644"/>
                <a:gd name="connsiteX1" fmla="*/ 7288 w 2284179"/>
                <a:gd name="connsiteY1" fmla="*/ 735890 h 1544644"/>
                <a:gd name="connsiteX2" fmla="*/ 408020 w 2284179"/>
                <a:gd name="connsiteY2" fmla="*/ 338799 h 1544644"/>
                <a:gd name="connsiteX3" fmla="*/ 1209486 w 2284179"/>
                <a:gd name="connsiteY3" fmla="*/ 346087 h 1544644"/>
                <a:gd name="connsiteX4" fmla="*/ 1890733 w 2284179"/>
                <a:gd name="connsiteY4" fmla="*/ 342442 h 1544644"/>
                <a:gd name="connsiteX5" fmla="*/ 2284179 w 2284179"/>
                <a:gd name="connsiteY5" fmla="*/ 0 h 1544644"/>
                <a:gd name="connsiteX0" fmla="*/ 0 w 2284179"/>
                <a:gd name="connsiteY0" fmla="*/ 1544644 h 1544644"/>
                <a:gd name="connsiteX1" fmla="*/ 7288 w 2284179"/>
                <a:gd name="connsiteY1" fmla="*/ 735890 h 1544644"/>
                <a:gd name="connsiteX2" fmla="*/ 408020 w 2284179"/>
                <a:gd name="connsiteY2" fmla="*/ 338799 h 1544644"/>
                <a:gd name="connsiteX3" fmla="*/ 1209486 w 2284179"/>
                <a:gd name="connsiteY3" fmla="*/ 346087 h 1544644"/>
                <a:gd name="connsiteX4" fmla="*/ 1890733 w 2284179"/>
                <a:gd name="connsiteY4" fmla="*/ 342442 h 1544644"/>
                <a:gd name="connsiteX5" fmla="*/ 2284179 w 2284179"/>
                <a:gd name="connsiteY5" fmla="*/ 0 h 1544644"/>
                <a:gd name="connsiteX0" fmla="*/ 0 w 2284179"/>
                <a:gd name="connsiteY0" fmla="*/ 1544644 h 1544644"/>
                <a:gd name="connsiteX1" fmla="*/ 7288 w 2284179"/>
                <a:gd name="connsiteY1" fmla="*/ 735890 h 1544644"/>
                <a:gd name="connsiteX2" fmla="*/ 408020 w 2284179"/>
                <a:gd name="connsiteY2" fmla="*/ 338799 h 1544644"/>
                <a:gd name="connsiteX3" fmla="*/ 1209486 w 2284179"/>
                <a:gd name="connsiteY3" fmla="*/ 346087 h 1544644"/>
                <a:gd name="connsiteX4" fmla="*/ 1890733 w 2284179"/>
                <a:gd name="connsiteY4" fmla="*/ 342442 h 1544644"/>
                <a:gd name="connsiteX5" fmla="*/ 2284179 w 2284179"/>
                <a:gd name="connsiteY5" fmla="*/ 0 h 1544644"/>
                <a:gd name="connsiteX0" fmla="*/ 0 w 2284179"/>
                <a:gd name="connsiteY0" fmla="*/ 1544644 h 1544644"/>
                <a:gd name="connsiteX1" fmla="*/ 7288 w 2284179"/>
                <a:gd name="connsiteY1" fmla="*/ 735890 h 1544644"/>
                <a:gd name="connsiteX2" fmla="*/ 408020 w 2284179"/>
                <a:gd name="connsiteY2" fmla="*/ 338799 h 1544644"/>
                <a:gd name="connsiteX3" fmla="*/ 1209486 w 2284179"/>
                <a:gd name="connsiteY3" fmla="*/ 346087 h 1544644"/>
                <a:gd name="connsiteX4" fmla="*/ 1890733 w 2284179"/>
                <a:gd name="connsiteY4" fmla="*/ 342442 h 1544644"/>
                <a:gd name="connsiteX5" fmla="*/ 2284179 w 2284179"/>
                <a:gd name="connsiteY5" fmla="*/ 0 h 1544644"/>
                <a:gd name="connsiteX0" fmla="*/ 0 w 2284179"/>
                <a:gd name="connsiteY0" fmla="*/ 1544644 h 1544644"/>
                <a:gd name="connsiteX1" fmla="*/ 7288 w 2284179"/>
                <a:gd name="connsiteY1" fmla="*/ 735890 h 1544644"/>
                <a:gd name="connsiteX2" fmla="*/ 408020 w 2284179"/>
                <a:gd name="connsiteY2" fmla="*/ 344957 h 1544644"/>
                <a:gd name="connsiteX3" fmla="*/ 1209486 w 2284179"/>
                <a:gd name="connsiteY3" fmla="*/ 346087 h 1544644"/>
                <a:gd name="connsiteX4" fmla="*/ 1890733 w 2284179"/>
                <a:gd name="connsiteY4" fmla="*/ 342442 h 1544644"/>
                <a:gd name="connsiteX5" fmla="*/ 2284179 w 2284179"/>
                <a:gd name="connsiteY5" fmla="*/ 0 h 1544644"/>
                <a:gd name="connsiteX0" fmla="*/ 0 w 2284179"/>
                <a:gd name="connsiteY0" fmla="*/ 1544644 h 1544644"/>
                <a:gd name="connsiteX1" fmla="*/ 7288 w 2284179"/>
                <a:gd name="connsiteY1" fmla="*/ 735890 h 1544644"/>
                <a:gd name="connsiteX2" fmla="*/ 408020 w 2284179"/>
                <a:gd name="connsiteY2" fmla="*/ 344957 h 1544644"/>
                <a:gd name="connsiteX3" fmla="*/ 1209486 w 2284179"/>
                <a:gd name="connsiteY3" fmla="*/ 346087 h 1544644"/>
                <a:gd name="connsiteX4" fmla="*/ 1890733 w 2284179"/>
                <a:gd name="connsiteY4" fmla="*/ 342442 h 1544644"/>
                <a:gd name="connsiteX5" fmla="*/ 2284179 w 2284179"/>
                <a:gd name="connsiteY5" fmla="*/ 0 h 1544644"/>
                <a:gd name="connsiteX0" fmla="*/ 0 w 2284179"/>
                <a:gd name="connsiteY0" fmla="*/ 1544644 h 1544644"/>
                <a:gd name="connsiteX1" fmla="*/ 7288 w 2284179"/>
                <a:gd name="connsiteY1" fmla="*/ 735890 h 1544644"/>
                <a:gd name="connsiteX2" fmla="*/ 408020 w 2284179"/>
                <a:gd name="connsiteY2" fmla="*/ 344957 h 1544644"/>
                <a:gd name="connsiteX3" fmla="*/ 1209486 w 2284179"/>
                <a:gd name="connsiteY3" fmla="*/ 346087 h 1544644"/>
                <a:gd name="connsiteX4" fmla="*/ 1879513 w 2284179"/>
                <a:gd name="connsiteY4" fmla="*/ 348052 h 1544644"/>
                <a:gd name="connsiteX5" fmla="*/ 2284179 w 2284179"/>
                <a:gd name="connsiteY5" fmla="*/ 0 h 1544644"/>
                <a:gd name="connsiteX0" fmla="*/ 0 w 2284179"/>
                <a:gd name="connsiteY0" fmla="*/ 1544644 h 1544644"/>
                <a:gd name="connsiteX1" fmla="*/ 7288 w 2284179"/>
                <a:gd name="connsiteY1" fmla="*/ 735890 h 1544644"/>
                <a:gd name="connsiteX2" fmla="*/ 408020 w 2284179"/>
                <a:gd name="connsiteY2" fmla="*/ 344957 h 1544644"/>
                <a:gd name="connsiteX3" fmla="*/ 1209486 w 2284179"/>
                <a:gd name="connsiteY3" fmla="*/ 346087 h 1544644"/>
                <a:gd name="connsiteX4" fmla="*/ 1885123 w 2284179"/>
                <a:gd name="connsiteY4" fmla="*/ 339637 h 1544644"/>
                <a:gd name="connsiteX5" fmla="*/ 2284179 w 2284179"/>
                <a:gd name="connsiteY5" fmla="*/ 0 h 1544644"/>
                <a:gd name="connsiteX0" fmla="*/ 0 w 2284179"/>
                <a:gd name="connsiteY0" fmla="*/ 1544644 h 1544644"/>
                <a:gd name="connsiteX1" fmla="*/ 7288 w 2284179"/>
                <a:gd name="connsiteY1" fmla="*/ 735890 h 1544644"/>
                <a:gd name="connsiteX2" fmla="*/ 408020 w 2284179"/>
                <a:gd name="connsiteY2" fmla="*/ 344957 h 1544644"/>
                <a:gd name="connsiteX3" fmla="*/ 1209486 w 2284179"/>
                <a:gd name="connsiteY3" fmla="*/ 346087 h 1544644"/>
                <a:gd name="connsiteX4" fmla="*/ 1885123 w 2284179"/>
                <a:gd name="connsiteY4" fmla="*/ 342018 h 1544644"/>
                <a:gd name="connsiteX5" fmla="*/ 2284179 w 2284179"/>
                <a:gd name="connsiteY5" fmla="*/ 0 h 1544644"/>
                <a:gd name="connsiteX0" fmla="*/ 0 w 2284179"/>
                <a:gd name="connsiteY0" fmla="*/ 1544644 h 1544644"/>
                <a:gd name="connsiteX1" fmla="*/ 7288 w 2284179"/>
                <a:gd name="connsiteY1" fmla="*/ 735890 h 1544644"/>
                <a:gd name="connsiteX2" fmla="*/ 408020 w 2284179"/>
                <a:gd name="connsiteY2" fmla="*/ 344957 h 1544644"/>
                <a:gd name="connsiteX3" fmla="*/ 1209486 w 2284179"/>
                <a:gd name="connsiteY3" fmla="*/ 346087 h 1544644"/>
                <a:gd name="connsiteX4" fmla="*/ 1885123 w 2284179"/>
                <a:gd name="connsiteY4" fmla="*/ 344399 h 1544644"/>
                <a:gd name="connsiteX5" fmla="*/ 2284179 w 2284179"/>
                <a:gd name="connsiteY5" fmla="*/ 0 h 1544644"/>
                <a:gd name="connsiteX0" fmla="*/ 0 w 2284179"/>
                <a:gd name="connsiteY0" fmla="*/ 1544644 h 1544644"/>
                <a:gd name="connsiteX1" fmla="*/ 7288 w 2284179"/>
                <a:gd name="connsiteY1" fmla="*/ 735890 h 1544644"/>
                <a:gd name="connsiteX2" fmla="*/ 408020 w 2284179"/>
                <a:gd name="connsiteY2" fmla="*/ 344957 h 1544644"/>
                <a:gd name="connsiteX3" fmla="*/ 1209486 w 2284179"/>
                <a:gd name="connsiteY3" fmla="*/ 346087 h 1544644"/>
                <a:gd name="connsiteX4" fmla="*/ 1887505 w 2284179"/>
                <a:gd name="connsiteY4" fmla="*/ 349162 h 1544644"/>
                <a:gd name="connsiteX5" fmla="*/ 2284179 w 2284179"/>
                <a:gd name="connsiteY5" fmla="*/ 0 h 1544644"/>
                <a:gd name="connsiteX0" fmla="*/ 0 w 2284179"/>
                <a:gd name="connsiteY0" fmla="*/ 1544644 h 1544644"/>
                <a:gd name="connsiteX1" fmla="*/ 7288 w 2284179"/>
                <a:gd name="connsiteY1" fmla="*/ 735890 h 1544644"/>
                <a:gd name="connsiteX2" fmla="*/ 408020 w 2284179"/>
                <a:gd name="connsiteY2" fmla="*/ 344957 h 1544644"/>
                <a:gd name="connsiteX3" fmla="*/ 1209486 w 2284179"/>
                <a:gd name="connsiteY3" fmla="*/ 346087 h 1544644"/>
                <a:gd name="connsiteX4" fmla="*/ 1887505 w 2284179"/>
                <a:gd name="connsiteY4" fmla="*/ 346780 h 1544644"/>
                <a:gd name="connsiteX5" fmla="*/ 2284179 w 2284179"/>
                <a:gd name="connsiteY5" fmla="*/ 0 h 1544644"/>
                <a:gd name="connsiteX0" fmla="*/ 0 w 2284179"/>
                <a:gd name="connsiteY0" fmla="*/ 1544644 h 1544644"/>
                <a:gd name="connsiteX1" fmla="*/ 7288 w 2284179"/>
                <a:gd name="connsiteY1" fmla="*/ 735890 h 1544644"/>
                <a:gd name="connsiteX2" fmla="*/ 410402 w 2284179"/>
                <a:gd name="connsiteY2" fmla="*/ 347339 h 1544644"/>
                <a:gd name="connsiteX3" fmla="*/ 1209486 w 2284179"/>
                <a:gd name="connsiteY3" fmla="*/ 346087 h 1544644"/>
                <a:gd name="connsiteX4" fmla="*/ 1887505 w 2284179"/>
                <a:gd name="connsiteY4" fmla="*/ 346780 h 1544644"/>
                <a:gd name="connsiteX5" fmla="*/ 2284179 w 2284179"/>
                <a:gd name="connsiteY5" fmla="*/ 0 h 1544644"/>
                <a:gd name="connsiteX0" fmla="*/ 6070 w 2277757"/>
                <a:gd name="connsiteY0" fmla="*/ 1539647 h 1539647"/>
                <a:gd name="connsiteX1" fmla="*/ 866 w 2277757"/>
                <a:gd name="connsiteY1" fmla="*/ 735890 h 1539647"/>
                <a:gd name="connsiteX2" fmla="*/ 403980 w 2277757"/>
                <a:gd name="connsiteY2" fmla="*/ 347339 h 1539647"/>
                <a:gd name="connsiteX3" fmla="*/ 1203064 w 2277757"/>
                <a:gd name="connsiteY3" fmla="*/ 346087 h 1539647"/>
                <a:gd name="connsiteX4" fmla="*/ 1881083 w 2277757"/>
                <a:gd name="connsiteY4" fmla="*/ 346780 h 1539647"/>
                <a:gd name="connsiteX5" fmla="*/ 2277757 w 2277757"/>
                <a:gd name="connsiteY5" fmla="*/ 0 h 1539647"/>
                <a:gd name="connsiteX0" fmla="*/ 6070 w 2277757"/>
                <a:gd name="connsiteY0" fmla="*/ 1539647 h 1539647"/>
                <a:gd name="connsiteX1" fmla="*/ 866 w 2277757"/>
                <a:gd name="connsiteY1" fmla="*/ 735890 h 1539647"/>
                <a:gd name="connsiteX2" fmla="*/ 403980 w 2277757"/>
                <a:gd name="connsiteY2" fmla="*/ 347339 h 1539647"/>
                <a:gd name="connsiteX3" fmla="*/ 1203064 w 2277757"/>
                <a:gd name="connsiteY3" fmla="*/ 346087 h 1539647"/>
                <a:gd name="connsiteX4" fmla="*/ 1881083 w 2277757"/>
                <a:gd name="connsiteY4" fmla="*/ 346780 h 1539647"/>
                <a:gd name="connsiteX5" fmla="*/ 2277757 w 2277757"/>
                <a:gd name="connsiteY5" fmla="*/ 0 h 1539647"/>
                <a:gd name="connsiteX0" fmla="*/ 6070 w 2277757"/>
                <a:gd name="connsiteY0" fmla="*/ 1539647 h 1539647"/>
                <a:gd name="connsiteX1" fmla="*/ 866 w 2277757"/>
                <a:gd name="connsiteY1" fmla="*/ 735890 h 1539647"/>
                <a:gd name="connsiteX2" fmla="*/ 403980 w 2277757"/>
                <a:gd name="connsiteY2" fmla="*/ 347339 h 1539647"/>
                <a:gd name="connsiteX3" fmla="*/ 1203064 w 2277757"/>
                <a:gd name="connsiteY3" fmla="*/ 346087 h 1539647"/>
                <a:gd name="connsiteX4" fmla="*/ 1881083 w 2277757"/>
                <a:gd name="connsiteY4" fmla="*/ 346780 h 1539647"/>
                <a:gd name="connsiteX5" fmla="*/ 2277757 w 2277757"/>
                <a:gd name="connsiteY5" fmla="*/ 0 h 1539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77757" h="1539647">
                  <a:moveTo>
                    <a:pt x="6070" y="1539647"/>
                  </a:moveTo>
                  <a:cubicBezTo>
                    <a:pt x="2218" y="735405"/>
                    <a:pt x="2080" y="964794"/>
                    <a:pt x="866" y="735890"/>
                  </a:cubicBezTo>
                  <a:cubicBezTo>
                    <a:pt x="-14921" y="452340"/>
                    <a:pt x="187828" y="348552"/>
                    <a:pt x="403980" y="347339"/>
                  </a:cubicBezTo>
                  <a:lnTo>
                    <a:pt x="1203064" y="346087"/>
                  </a:lnTo>
                  <a:lnTo>
                    <a:pt x="1881083" y="346780"/>
                  </a:lnTo>
                  <a:cubicBezTo>
                    <a:pt x="2242350" y="343744"/>
                    <a:pt x="2266828" y="79539"/>
                    <a:pt x="2277757" y="0"/>
                  </a:cubicBezTo>
                </a:path>
              </a:pathLst>
            </a:custGeom>
            <a:noFill/>
            <a:ln>
              <a:solidFill>
                <a:schemeClr val="tx2"/>
              </a:solidFill>
              <a:headEnd type="oval" w="med" len="med"/>
              <a:tailEnd type="oval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33" name="Group 161"/>
            <p:cNvGrpSpPr/>
            <p:nvPr/>
          </p:nvGrpSpPr>
          <p:grpSpPr>
            <a:xfrm>
              <a:off x="7582331" y="3316602"/>
              <a:ext cx="2292976" cy="1819276"/>
              <a:chOff x="7582331" y="3232149"/>
              <a:chExt cx="2292976" cy="1796257"/>
            </a:xfrm>
          </p:grpSpPr>
          <p:sp>
            <p:nvSpPr>
              <p:cNvPr id="235" name="Freeform 194"/>
              <p:cNvSpPr/>
              <p:nvPr/>
            </p:nvSpPr>
            <p:spPr>
              <a:xfrm>
                <a:off x="7582331" y="3232149"/>
                <a:ext cx="1145383" cy="1796257"/>
              </a:xfrm>
              <a:custGeom>
                <a:avLst/>
                <a:gdLst>
                  <a:gd name="connsiteX0" fmla="*/ 0 w 112934"/>
                  <a:gd name="connsiteY0" fmla="*/ 0 h 69217"/>
                  <a:gd name="connsiteX1" fmla="*/ 43717 w 112934"/>
                  <a:gd name="connsiteY1" fmla="*/ 18215 h 69217"/>
                  <a:gd name="connsiteX2" fmla="*/ 112934 w 112934"/>
                  <a:gd name="connsiteY2" fmla="*/ 69217 h 69217"/>
                  <a:gd name="connsiteX0" fmla="*/ 130924 w 2418746"/>
                  <a:gd name="connsiteY0" fmla="*/ 0 h 109291"/>
                  <a:gd name="connsiteX1" fmla="*/ 174641 w 2418746"/>
                  <a:gd name="connsiteY1" fmla="*/ 18215 h 109291"/>
                  <a:gd name="connsiteX2" fmla="*/ 2418746 w 2418746"/>
                  <a:gd name="connsiteY2" fmla="*/ 109291 h 109291"/>
                  <a:gd name="connsiteX0" fmla="*/ 121571 w 2423965"/>
                  <a:gd name="connsiteY0" fmla="*/ 1383907 h 1383967"/>
                  <a:gd name="connsiteX1" fmla="*/ 179860 w 2423965"/>
                  <a:gd name="connsiteY1" fmla="*/ 76060 h 1383967"/>
                  <a:gd name="connsiteX2" fmla="*/ 2423965 w 2423965"/>
                  <a:gd name="connsiteY2" fmla="*/ 167136 h 1383967"/>
                  <a:gd name="connsiteX0" fmla="*/ 0 w 2302394"/>
                  <a:gd name="connsiteY0" fmla="*/ 1220236 h 1220335"/>
                  <a:gd name="connsiteX1" fmla="*/ 1216772 w 2302394"/>
                  <a:gd name="connsiteY1" fmla="*/ 349552 h 1220335"/>
                  <a:gd name="connsiteX2" fmla="*/ 2302394 w 2302394"/>
                  <a:gd name="connsiteY2" fmla="*/ 3465 h 1220335"/>
                  <a:gd name="connsiteX0" fmla="*/ 0 w 2302394"/>
                  <a:gd name="connsiteY0" fmla="*/ 1218509 h 1218586"/>
                  <a:gd name="connsiteX1" fmla="*/ 1216772 w 2302394"/>
                  <a:gd name="connsiteY1" fmla="*/ 347825 h 1218586"/>
                  <a:gd name="connsiteX2" fmla="*/ 2302394 w 2302394"/>
                  <a:gd name="connsiteY2" fmla="*/ 1738 h 1218586"/>
                  <a:gd name="connsiteX0" fmla="*/ 0 w 2302394"/>
                  <a:gd name="connsiteY0" fmla="*/ 1216771 h 1216848"/>
                  <a:gd name="connsiteX1" fmla="*/ 1216772 w 2302394"/>
                  <a:gd name="connsiteY1" fmla="*/ 346087 h 1216848"/>
                  <a:gd name="connsiteX2" fmla="*/ 2302394 w 2302394"/>
                  <a:gd name="connsiteY2" fmla="*/ 0 h 1216848"/>
                  <a:gd name="connsiteX0" fmla="*/ 0 w 2302394"/>
                  <a:gd name="connsiteY0" fmla="*/ 1216771 h 1216771"/>
                  <a:gd name="connsiteX1" fmla="*/ 1216772 w 2302394"/>
                  <a:gd name="connsiteY1" fmla="*/ 346087 h 1216771"/>
                  <a:gd name="connsiteX2" fmla="*/ 2302394 w 2302394"/>
                  <a:gd name="connsiteY2" fmla="*/ 0 h 1216771"/>
                  <a:gd name="connsiteX0" fmla="*/ 0 w 2287822"/>
                  <a:gd name="connsiteY0" fmla="*/ 1216771 h 1216771"/>
                  <a:gd name="connsiteX1" fmla="*/ 1202200 w 2287822"/>
                  <a:gd name="connsiteY1" fmla="*/ 346087 h 1216771"/>
                  <a:gd name="connsiteX2" fmla="*/ 2287822 w 2287822"/>
                  <a:gd name="connsiteY2" fmla="*/ 0 h 1216771"/>
                  <a:gd name="connsiteX0" fmla="*/ 0 w 2295108"/>
                  <a:gd name="connsiteY0" fmla="*/ 1220414 h 1220414"/>
                  <a:gd name="connsiteX1" fmla="*/ 1209486 w 2295108"/>
                  <a:gd name="connsiteY1" fmla="*/ 346087 h 1220414"/>
                  <a:gd name="connsiteX2" fmla="*/ 2295108 w 2295108"/>
                  <a:gd name="connsiteY2" fmla="*/ 0 h 1220414"/>
                  <a:gd name="connsiteX0" fmla="*/ 0 w 2295108"/>
                  <a:gd name="connsiteY0" fmla="*/ 1220414 h 1220414"/>
                  <a:gd name="connsiteX1" fmla="*/ 1209486 w 2295108"/>
                  <a:gd name="connsiteY1" fmla="*/ 346087 h 1220414"/>
                  <a:gd name="connsiteX2" fmla="*/ 2295108 w 2295108"/>
                  <a:gd name="connsiteY2" fmla="*/ 0 h 1220414"/>
                  <a:gd name="connsiteX0" fmla="*/ 0 w 2295108"/>
                  <a:gd name="connsiteY0" fmla="*/ 1220414 h 1220414"/>
                  <a:gd name="connsiteX1" fmla="*/ 1209486 w 2295108"/>
                  <a:gd name="connsiteY1" fmla="*/ 346087 h 1220414"/>
                  <a:gd name="connsiteX2" fmla="*/ 2295108 w 2295108"/>
                  <a:gd name="connsiteY2" fmla="*/ 0 h 1220414"/>
                  <a:gd name="connsiteX0" fmla="*/ 0 w 2284179"/>
                  <a:gd name="connsiteY0" fmla="*/ 1220414 h 1220414"/>
                  <a:gd name="connsiteX1" fmla="*/ 1209486 w 2284179"/>
                  <a:gd name="connsiteY1" fmla="*/ 346087 h 1220414"/>
                  <a:gd name="connsiteX2" fmla="*/ 2284179 w 2284179"/>
                  <a:gd name="connsiteY2" fmla="*/ 0 h 1220414"/>
                  <a:gd name="connsiteX0" fmla="*/ 0 w 2284179"/>
                  <a:gd name="connsiteY0" fmla="*/ 1220414 h 1220414"/>
                  <a:gd name="connsiteX1" fmla="*/ 1209486 w 2284179"/>
                  <a:gd name="connsiteY1" fmla="*/ 346087 h 1220414"/>
                  <a:gd name="connsiteX2" fmla="*/ 2284179 w 2284179"/>
                  <a:gd name="connsiteY2" fmla="*/ 0 h 1220414"/>
                  <a:gd name="connsiteX0" fmla="*/ 0 w 2284179"/>
                  <a:gd name="connsiteY0" fmla="*/ 1220414 h 1220414"/>
                  <a:gd name="connsiteX1" fmla="*/ 1209486 w 2284179"/>
                  <a:gd name="connsiteY1" fmla="*/ 346087 h 1220414"/>
                  <a:gd name="connsiteX2" fmla="*/ 2284179 w 2284179"/>
                  <a:gd name="connsiteY2" fmla="*/ 0 h 1220414"/>
                  <a:gd name="connsiteX0" fmla="*/ 0 w 2284179"/>
                  <a:gd name="connsiteY0" fmla="*/ 1220414 h 1220414"/>
                  <a:gd name="connsiteX1" fmla="*/ 1209486 w 2284179"/>
                  <a:gd name="connsiteY1" fmla="*/ 346087 h 1220414"/>
                  <a:gd name="connsiteX2" fmla="*/ 2284179 w 2284179"/>
                  <a:gd name="connsiteY2" fmla="*/ 0 h 1220414"/>
                  <a:gd name="connsiteX0" fmla="*/ 0 w 2284179"/>
                  <a:gd name="connsiteY0" fmla="*/ 1220414 h 1220414"/>
                  <a:gd name="connsiteX1" fmla="*/ 1209486 w 2284179"/>
                  <a:gd name="connsiteY1" fmla="*/ 346087 h 1220414"/>
                  <a:gd name="connsiteX2" fmla="*/ 2284179 w 2284179"/>
                  <a:gd name="connsiteY2" fmla="*/ 0 h 1220414"/>
                  <a:gd name="connsiteX0" fmla="*/ 0 w 2284179"/>
                  <a:gd name="connsiteY0" fmla="*/ 1220414 h 1220414"/>
                  <a:gd name="connsiteX1" fmla="*/ 1209486 w 2284179"/>
                  <a:gd name="connsiteY1" fmla="*/ 346087 h 1220414"/>
                  <a:gd name="connsiteX2" fmla="*/ 2284179 w 2284179"/>
                  <a:gd name="connsiteY2" fmla="*/ 0 h 1220414"/>
                  <a:gd name="connsiteX0" fmla="*/ 0 w 2284179"/>
                  <a:gd name="connsiteY0" fmla="*/ 1220414 h 1220414"/>
                  <a:gd name="connsiteX1" fmla="*/ 801467 w 2284179"/>
                  <a:gd name="connsiteY1" fmla="*/ 349728 h 1220414"/>
                  <a:gd name="connsiteX2" fmla="*/ 1209486 w 2284179"/>
                  <a:gd name="connsiteY2" fmla="*/ 346087 h 1220414"/>
                  <a:gd name="connsiteX3" fmla="*/ 2284179 w 2284179"/>
                  <a:gd name="connsiteY3" fmla="*/ 0 h 1220414"/>
                  <a:gd name="connsiteX0" fmla="*/ 0 w 2284179"/>
                  <a:gd name="connsiteY0" fmla="*/ 1220414 h 1220414"/>
                  <a:gd name="connsiteX1" fmla="*/ 408020 w 2284179"/>
                  <a:gd name="connsiteY1" fmla="*/ 338799 h 1220414"/>
                  <a:gd name="connsiteX2" fmla="*/ 1209486 w 2284179"/>
                  <a:gd name="connsiteY2" fmla="*/ 346087 h 1220414"/>
                  <a:gd name="connsiteX3" fmla="*/ 2284179 w 2284179"/>
                  <a:gd name="connsiteY3" fmla="*/ 0 h 1220414"/>
                  <a:gd name="connsiteX0" fmla="*/ 0 w 2284179"/>
                  <a:gd name="connsiteY0" fmla="*/ 1220414 h 1220414"/>
                  <a:gd name="connsiteX1" fmla="*/ 408020 w 2284179"/>
                  <a:gd name="connsiteY1" fmla="*/ 338799 h 1220414"/>
                  <a:gd name="connsiteX2" fmla="*/ 1209486 w 2284179"/>
                  <a:gd name="connsiteY2" fmla="*/ 346087 h 1220414"/>
                  <a:gd name="connsiteX3" fmla="*/ 1803300 w 2284179"/>
                  <a:gd name="connsiteY3" fmla="*/ 302369 h 1220414"/>
                  <a:gd name="connsiteX4" fmla="*/ 2284179 w 2284179"/>
                  <a:gd name="connsiteY4" fmla="*/ 0 h 1220414"/>
                  <a:gd name="connsiteX0" fmla="*/ 0 w 2284179"/>
                  <a:gd name="connsiteY0" fmla="*/ 1220414 h 1220414"/>
                  <a:gd name="connsiteX1" fmla="*/ 408020 w 2284179"/>
                  <a:gd name="connsiteY1" fmla="*/ 338799 h 1220414"/>
                  <a:gd name="connsiteX2" fmla="*/ 1209486 w 2284179"/>
                  <a:gd name="connsiteY2" fmla="*/ 346087 h 1220414"/>
                  <a:gd name="connsiteX3" fmla="*/ 1890733 w 2284179"/>
                  <a:gd name="connsiteY3" fmla="*/ 342442 h 1220414"/>
                  <a:gd name="connsiteX4" fmla="*/ 2284179 w 2284179"/>
                  <a:gd name="connsiteY4" fmla="*/ 0 h 1220414"/>
                  <a:gd name="connsiteX0" fmla="*/ 0 w 2284179"/>
                  <a:gd name="connsiteY0" fmla="*/ 1220414 h 1220414"/>
                  <a:gd name="connsiteX1" fmla="*/ 408020 w 2284179"/>
                  <a:gd name="connsiteY1" fmla="*/ 338799 h 1220414"/>
                  <a:gd name="connsiteX2" fmla="*/ 1209486 w 2284179"/>
                  <a:gd name="connsiteY2" fmla="*/ 346087 h 1220414"/>
                  <a:gd name="connsiteX3" fmla="*/ 1890733 w 2284179"/>
                  <a:gd name="connsiteY3" fmla="*/ 342442 h 1220414"/>
                  <a:gd name="connsiteX4" fmla="*/ 2284179 w 2284179"/>
                  <a:gd name="connsiteY4" fmla="*/ 0 h 1220414"/>
                  <a:gd name="connsiteX0" fmla="*/ 0 w 2284179"/>
                  <a:gd name="connsiteY0" fmla="*/ 1220414 h 1220414"/>
                  <a:gd name="connsiteX1" fmla="*/ 408020 w 2284179"/>
                  <a:gd name="connsiteY1" fmla="*/ 338799 h 1220414"/>
                  <a:gd name="connsiteX2" fmla="*/ 1209486 w 2284179"/>
                  <a:gd name="connsiteY2" fmla="*/ 346087 h 1220414"/>
                  <a:gd name="connsiteX3" fmla="*/ 1890733 w 2284179"/>
                  <a:gd name="connsiteY3" fmla="*/ 342442 h 1220414"/>
                  <a:gd name="connsiteX4" fmla="*/ 2284179 w 2284179"/>
                  <a:gd name="connsiteY4" fmla="*/ 0 h 1220414"/>
                  <a:gd name="connsiteX0" fmla="*/ 0 w 2284179"/>
                  <a:gd name="connsiteY0" fmla="*/ 1220414 h 1220414"/>
                  <a:gd name="connsiteX1" fmla="*/ 408020 w 2284179"/>
                  <a:gd name="connsiteY1" fmla="*/ 338799 h 1220414"/>
                  <a:gd name="connsiteX2" fmla="*/ 1209486 w 2284179"/>
                  <a:gd name="connsiteY2" fmla="*/ 346087 h 1220414"/>
                  <a:gd name="connsiteX3" fmla="*/ 1890733 w 2284179"/>
                  <a:gd name="connsiteY3" fmla="*/ 342442 h 1220414"/>
                  <a:gd name="connsiteX4" fmla="*/ 2284179 w 2284179"/>
                  <a:gd name="connsiteY4" fmla="*/ 0 h 1220414"/>
                  <a:gd name="connsiteX0" fmla="*/ 0 w 2284179"/>
                  <a:gd name="connsiteY0" fmla="*/ 1220414 h 1220414"/>
                  <a:gd name="connsiteX1" fmla="*/ 408020 w 2284179"/>
                  <a:gd name="connsiteY1" fmla="*/ 338799 h 1220414"/>
                  <a:gd name="connsiteX2" fmla="*/ 1209486 w 2284179"/>
                  <a:gd name="connsiteY2" fmla="*/ 346087 h 1220414"/>
                  <a:gd name="connsiteX3" fmla="*/ 1890733 w 2284179"/>
                  <a:gd name="connsiteY3" fmla="*/ 342442 h 1220414"/>
                  <a:gd name="connsiteX4" fmla="*/ 2284179 w 2284179"/>
                  <a:gd name="connsiteY4" fmla="*/ 0 h 1220414"/>
                  <a:gd name="connsiteX0" fmla="*/ 0 w 2284179"/>
                  <a:gd name="connsiteY0" fmla="*/ 1548286 h 1548286"/>
                  <a:gd name="connsiteX1" fmla="*/ 408020 w 2284179"/>
                  <a:gd name="connsiteY1" fmla="*/ 338799 h 1548286"/>
                  <a:gd name="connsiteX2" fmla="*/ 1209486 w 2284179"/>
                  <a:gd name="connsiteY2" fmla="*/ 346087 h 1548286"/>
                  <a:gd name="connsiteX3" fmla="*/ 1890733 w 2284179"/>
                  <a:gd name="connsiteY3" fmla="*/ 342442 h 1548286"/>
                  <a:gd name="connsiteX4" fmla="*/ 2284179 w 2284179"/>
                  <a:gd name="connsiteY4" fmla="*/ 0 h 1548286"/>
                  <a:gd name="connsiteX0" fmla="*/ 49101 w 2333280"/>
                  <a:gd name="connsiteY0" fmla="*/ 1548286 h 1548286"/>
                  <a:gd name="connsiteX1" fmla="*/ 457121 w 2333280"/>
                  <a:gd name="connsiteY1" fmla="*/ 338799 h 1548286"/>
                  <a:gd name="connsiteX2" fmla="*/ 1258587 w 2333280"/>
                  <a:gd name="connsiteY2" fmla="*/ 346087 h 1548286"/>
                  <a:gd name="connsiteX3" fmla="*/ 1939834 w 2333280"/>
                  <a:gd name="connsiteY3" fmla="*/ 342442 h 1548286"/>
                  <a:gd name="connsiteX4" fmla="*/ 2333280 w 2333280"/>
                  <a:gd name="connsiteY4" fmla="*/ 0 h 1548286"/>
                  <a:gd name="connsiteX0" fmla="*/ 49101 w 2333280"/>
                  <a:gd name="connsiteY0" fmla="*/ 1548286 h 1548286"/>
                  <a:gd name="connsiteX1" fmla="*/ 457121 w 2333280"/>
                  <a:gd name="connsiteY1" fmla="*/ 338799 h 1548286"/>
                  <a:gd name="connsiteX2" fmla="*/ 1258587 w 2333280"/>
                  <a:gd name="connsiteY2" fmla="*/ 346087 h 1548286"/>
                  <a:gd name="connsiteX3" fmla="*/ 1939834 w 2333280"/>
                  <a:gd name="connsiteY3" fmla="*/ 342442 h 1548286"/>
                  <a:gd name="connsiteX4" fmla="*/ 2333280 w 2333280"/>
                  <a:gd name="connsiteY4" fmla="*/ 0 h 1548286"/>
                  <a:gd name="connsiteX0" fmla="*/ 53592 w 2326842"/>
                  <a:gd name="connsiteY0" fmla="*/ 750463 h 750463"/>
                  <a:gd name="connsiteX1" fmla="*/ 450683 w 2326842"/>
                  <a:gd name="connsiteY1" fmla="*/ 338799 h 750463"/>
                  <a:gd name="connsiteX2" fmla="*/ 1252149 w 2326842"/>
                  <a:gd name="connsiteY2" fmla="*/ 346087 h 750463"/>
                  <a:gd name="connsiteX3" fmla="*/ 1933396 w 2326842"/>
                  <a:gd name="connsiteY3" fmla="*/ 342442 h 750463"/>
                  <a:gd name="connsiteX4" fmla="*/ 2326842 w 2326842"/>
                  <a:gd name="connsiteY4" fmla="*/ 0 h 750463"/>
                  <a:gd name="connsiteX0" fmla="*/ 50602 w 2323852"/>
                  <a:gd name="connsiteY0" fmla="*/ 750463 h 750463"/>
                  <a:gd name="connsiteX1" fmla="*/ 447693 w 2323852"/>
                  <a:gd name="connsiteY1" fmla="*/ 338799 h 750463"/>
                  <a:gd name="connsiteX2" fmla="*/ 1249159 w 2323852"/>
                  <a:gd name="connsiteY2" fmla="*/ 346087 h 750463"/>
                  <a:gd name="connsiteX3" fmla="*/ 1930406 w 2323852"/>
                  <a:gd name="connsiteY3" fmla="*/ 342442 h 750463"/>
                  <a:gd name="connsiteX4" fmla="*/ 2323852 w 2323852"/>
                  <a:gd name="connsiteY4" fmla="*/ 0 h 750463"/>
                  <a:gd name="connsiteX0" fmla="*/ 0 w 2273250"/>
                  <a:gd name="connsiteY0" fmla="*/ 750463 h 750463"/>
                  <a:gd name="connsiteX1" fmla="*/ 397091 w 2273250"/>
                  <a:gd name="connsiteY1" fmla="*/ 338799 h 750463"/>
                  <a:gd name="connsiteX2" fmla="*/ 1198557 w 2273250"/>
                  <a:gd name="connsiteY2" fmla="*/ 346087 h 750463"/>
                  <a:gd name="connsiteX3" fmla="*/ 1879804 w 2273250"/>
                  <a:gd name="connsiteY3" fmla="*/ 342442 h 750463"/>
                  <a:gd name="connsiteX4" fmla="*/ 2273250 w 2273250"/>
                  <a:gd name="connsiteY4" fmla="*/ 0 h 750463"/>
                  <a:gd name="connsiteX0" fmla="*/ 0 w 2284179"/>
                  <a:gd name="connsiteY0" fmla="*/ 750463 h 750463"/>
                  <a:gd name="connsiteX1" fmla="*/ 408020 w 2284179"/>
                  <a:gd name="connsiteY1" fmla="*/ 338799 h 750463"/>
                  <a:gd name="connsiteX2" fmla="*/ 1209486 w 2284179"/>
                  <a:gd name="connsiteY2" fmla="*/ 346087 h 750463"/>
                  <a:gd name="connsiteX3" fmla="*/ 1890733 w 2284179"/>
                  <a:gd name="connsiteY3" fmla="*/ 342442 h 750463"/>
                  <a:gd name="connsiteX4" fmla="*/ 2284179 w 2284179"/>
                  <a:gd name="connsiteY4" fmla="*/ 0 h 750463"/>
                  <a:gd name="connsiteX0" fmla="*/ 14182 w 2298361"/>
                  <a:gd name="connsiteY0" fmla="*/ 750463 h 750463"/>
                  <a:gd name="connsiteX1" fmla="*/ 36043 w 2298361"/>
                  <a:gd name="connsiteY1" fmla="*/ 571954 h 750463"/>
                  <a:gd name="connsiteX2" fmla="*/ 422202 w 2298361"/>
                  <a:gd name="connsiteY2" fmla="*/ 338799 h 750463"/>
                  <a:gd name="connsiteX3" fmla="*/ 1223668 w 2298361"/>
                  <a:gd name="connsiteY3" fmla="*/ 346087 h 750463"/>
                  <a:gd name="connsiteX4" fmla="*/ 1904915 w 2298361"/>
                  <a:gd name="connsiteY4" fmla="*/ 342442 h 750463"/>
                  <a:gd name="connsiteX5" fmla="*/ 2298361 w 2298361"/>
                  <a:gd name="connsiteY5" fmla="*/ 0 h 750463"/>
                  <a:gd name="connsiteX0" fmla="*/ 14182 w 2298361"/>
                  <a:gd name="connsiteY0" fmla="*/ 1544644 h 1544644"/>
                  <a:gd name="connsiteX1" fmla="*/ 36043 w 2298361"/>
                  <a:gd name="connsiteY1" fmla="*/ 571954 h 1544644"/>
                  <a:gd name="connsiteX2" fmla="*/ 422202 w 2298361"/>
                  <a:gd name="connsiteY2" fmla="*/ 338799 h 1544644"/>
                  <a:gd name="connsiteX3" fmla="*/ 1223668 w 2298361"/>
                  <a:gd name="connsiteY3" fmla="*/ 346087 h 1544644"/>
                  <a:gd name="connsiteX4" fmla="*/ 1904915 w 2298361"/>
                  <a:gd name="connsiteY4" fmla="*/ 342442 h 1544644"/>
                  <a:gd name="connsiteX5" fmla="*/ 2298361 w 2298361"/>
                  <a:gd name="connsiteY5" fmla="*/ 0 h 1544644"/>
                  <a:gd name="connsiteX0" fmla="*/ 24062 w 2308241"/>
                  <a:gd name="connsiteY0" fmla="*/ 1544644 h 1544644"/>
                  <a:gd name="connsiteX1" fmla="*/ 31350 w 2308241"/>
                  <a:gd name="connsiteY1" fmla="*/ 735890 h 1544644"/>
                  <a:gd name="connsiteX2" fmla="*/ 432082 w 2308241"/>
                  <a:gd name="connsiteY2" fmla="*/ 338799 h 1544644"/>
                  <a:gd name="connsiteX3" fmla="*/ 1233548 w 2308241"/>
                  <a:gd name="connsiteY3" fmla="*/ 346087 h 1544644"/>
                  <a:gd name="connsiteX4" fmla="*/ 1914795 w 2308241"/>
                  <a:gd name="connsiteY4" fmla="*/ 342442 h 1544644"/>
                  <a:gd name="connsiteX5" fmla="*/ 2308241 w 2308241"/>
                  <a:gd name="connsiteY5" fmla="*/ 0 h 1544644"/>
                  <a:gd name="connsiteX0" fmla="*/ 0 w 2284179"/>
                  <a:gd name="connsiteY0" fmla="*/ 1544644 h 1544644"/>
                  <a:gd name="connsiteX1" fmla="*/ 7288 w 2284179"/>
                  <a:gd name="connsiteY1" fmla="*/ 735890 h 1544644"/>
                  <a:gd name="connsiteX2" fmla="*/ 408020 w 2284179"/>
                  <a:gd name="connsiteY2" fmla="*/ 338799 h 1544644"/>
                  <a:gd name="connsiteX3" fmla="*/ 1209486 w 2284179"/>
                  <a:gd name="connsiteY3" fmla="*/ 346087 h 1544644"/>
                  <a:gd name="connsiteX4" fmla="*/ 1890733 w 2284179"/>
                  <a:gd name="connsiteY4" fmla="*/ 342442 h 1544644"/>
                  <a:gd name="connsiteX5" fmla="*/ 2284179 w 2284179"/>
                  <a:gd name="connsiteY5" fmla="*/ 0 h 1544644"/>
                  <a:gd name="connsiteX0" fmla="*/ 0 w 2284179"/>
                  <a:gd name="connsiteY0" fmla="*/ 1544644 h 1544644"/>
                  <a:gd name="connsiteX1" fmla="*/ 7288 w 2284179"/>
                  <a:gd name="connsiteY1" fmla="*/ 735890 h 1544644"/>
                  <a:gd name="connsiteX2" fmla="*/ 408020 w 2284179"/>
                  <a:gd name="connsiteY2" fmla="*/ 338799 h 1544644"/>
                  <a:gd name="connsiteX3" fmla="*/ 1209486 w 2284179"/>
                  <a:gd name="connsiteY3" fmla="*/ 346087 h 1544644"/>
                  <a:gd name="connsiteX4" fmla="*/ 1890733 w 2284179"/>
                  <a:gd name="connsiteY4" fmla="*/ 342442 h 1544644"/>
                  <a:gd name="connsiteX5" fmla="*/ 2284179 w 2284179"/>
                  <a:gd name="connsiteY5" fmla="*/ 0 h 1544644"/>
                  <a:gd name="connsiteX0" fmla="*/ 0 w 2284179"/>
                  <a:gd name="connsiteY0" fmla="*/ 1544644 h 1544644"/>
                  <a:gd name="connsiteX1" fmla="*/ 7288 w 2284179"/>
                  <a:gd name="connsiteY1" fmla="*/ 735890 h 1544644"/>
                  <a:gd name="connsiteX2" fmla="*/ 408020 w 2284179"/>
                  <a:gd name="connsiteY2" fmla="*/ 338799 h 1544644"/>
                  <a:gd name="connsiteX3" fmla="*/ 1209486 w 2284179"/>
                  <a:gd name="connsiteY3" fmla="*/ 346087 h 1544644"/>
                  <a:gd name="connsiteX4" fmla="*/ 1890733 w 2284179"/>
                  <a:gd name="connsiteY4" fmla="*/ 342442 h 1544644"/>
                  <a:gd name="connsiteX5" fmla="*/ 2284179 w 2284179"/>
                  <a:gd name="connsiteY5" fmla="*/ 0 h 1544644"/>
                  <a:gd name="connsiteX0" fmla="*/ 0 w 2284179"/>
                  <a:gd name="connsiteY0" fmla="*/ 1544644 h 1544644"/>
                  <a:gd name="connsiteX1" fmla="*/ 7288 w 2284179"/>
                  <a:gd name="connsiteY1" fmla="*/ 735890 h 1544644"/>
                  <a:gd name="connsiteX2" fmla="*/ 408020 w 2284179"/>
                  <a:gd name="connsiteY2" fmla="*/ 338799 h 1544644"/>
                  <a:gd name="connsiteX3" fmla="*/ 1209486 w 2284179"/>
                  <a:gd name="connsiteY3" fmla="*/ 346087 h 1544644"/>
                  <a:gd name="connsiteX4" fmla="*/ 1890733 w 2284179"/>
                  <a:gd name="connsiteY4" fmla="*/ 342442 h 1544644"/>
                  <a:gd name="connsiteX5" fmla="*/ 2284179 w 2284179"/>
                  <a:gd name="connsiteY5" fmla="*/ 0 h 1544644"/>
                  <a:gd name="connsiteX0" fmla="*/ 0 w 2284179"/>
                  <a:gd name="connsiteY0" fmla="*/ 1544644 h 1544644"/>
                  <a:gd name="connsiteX1" fmla="*/ 7288 w 2284179"/>
                  <a:gd name="connsiteY1" fmla="*/ 735890 h 1544644"/>
                  <a:gd name="connsiteX2" fmla="*/ 408020 w 2284179"/>
                  <a:gd name="connsiteY2" fmla="*/ 338799 h 1544644"/>
                  <a:gd name="connsiteX3" fmla="*/ 1209486 w 2284179"/>
                  <a:gd name="connsiteY3" fmla="*/ 346087 h 1544644"/>
                  <a:gd name="connsiteX4" fmla="*/ 1890733 w 2284179"/>
                  <a:gd name="connsiteY4" fmla="*/ 342442 h 1544644"/>
                  <a:gd name="connsiteX5" fmla="*/ 2284179 w 2284179"/>
                  <a:gd name="connsiteY5" fmla="*/ 0 h 1544644"/>
                  <a:gd name="connsiteX0" fmla="*/ 0 w 2284179"/>
                  <a:gd name="connsiteY0" fmla="*/ 1544644 h 1544644"/>
                  <a:gd name="connsiteX1" fmla="*/ 7288 w 2284179"/>
                  <a:gd name="connsiteY1" fmla="*/ 735890 h 1544644"/>
                  <a:gd name="connsiteX2" fmla="*/ 408020 w 2284179"/>
                  <a:gd name="connsiteY2" fmla="*/ 338799 h 1544644"/>
                  <a:gd name="connsiteX3" fmla="*/ 1209486 w 2284179"/>
                  <a:gd name="connsiteY3" fmla="*/ 346087 h 1544644"/>
                  <a:gd name="connsiteX4" fmla="*/ 1890733 w 2284179"/>
                  <a:gd name="connsiteY4" fmla="*/ 342442 h 1544644"/>
                  <a:gd name="connsiteX5" fmla="*/ 2284179 w 2284179"/>
                  <a:gd name="connsiteY5" fmla="*/ 0 h 1544644"/>
                  <a:gd name="connsiteX0" fmla="*/ 0 w 2284179"/>
                  <a:gd name="connsiteY0" fmla="*/ 1544644 h 1544644"/>
                  <a:gd name="connsiteX1" fmla="*/ 7288 w 2284179"/>
                  <a:gd name="connsiteY1" fmla="*/ 735890 h 1544644"/>
                  <a:gd name="connsiteX2" fmla="*/ 408020 w 2284179"/>
                  <a:gd name="connsiteY2" fmla="*/ 344957 h 1544644"/>
                  <a:gd name="connsiteX3" fmla="*/ 1209486 w 2284179"/>
                  <a:gd name="connsiteY3" fmla="*/ 346087 h 1544644"/>
                  <a:gd name="connsiteX4" fmla="*/ 1890733 w 2284179"/>
                  <a:gd name="connsiteY4" fmla="*/ 342442 h 1544644"/>
                  <a:gd name="connsiteX5" fmla="*/ 2284179 w 2284179"/>
                  <a:gd name="connsiteY5" fmla="*/ 0 h 1544644"/>
                  <a:gd name="connsiteX0" fmla="*/ 0 w 2284179"/>
                  <a:gd name="connsiteY0" fmla="*/ 1544644 h 1544644"/>
                  <a:gd name="connsiteX1" fmla="*/ 7288 w 2284179"/>
                  <a:gd name="connsiteY1" fmla="*/ 735890 h 1544644"/>
                  <a:gd name="connsiteX2" fmla="*/ 408020 w 2284179"/>
                  <a:gd name="connsiteY2" fmla="*/ 344957 h 1544644"/>
                  <a:gd name="connsiteX3" fmla="*/ 1209486 w 2284179"/>
                  <a:gd name="connsiteY3" fmla="*/ 346087 h 1544644"/>
                  <a:gd name="connsiteX4" fmla="*/ 1890733 w 2284179"/>
                  <a:gd name="connsiteY4" fmla="*/ 342442 h 1544644"/>
                  <a:gd name="connsiteX5" fmla="*/ 2284179 w 2284179"/>
                  <a:gd name="connsiteY5" fmla="*/ 0 h 1544644"/>
                  <a:gd name="connsiteX0" fmla="*/ 0 w 2284179"/>
                  <a:gd name="connsiteY0" fmla="*/ 1544644 h 1544644"/>
                  <a:gd name="connsiteX1" fmla="*/ 7288 w 2284179"/>
                  <a:gd name="connsiteY1" fmla="*/ 735890 h 1544644"/>
                  <a:gd name="connsiteX2" fmla="*/ 408020 w 2284179"/>
                  <a:gd name="connsiteY2" fmla="*/ 344957 h 1544644"/>
                  <a:gd name="connsiteX3" fmla="*/ 1209486 w 2284179"/>
                  <a:gd name="connsiteY3" fmla="*/ 346087 h 1544644"/>
                  <a:gd name="connsiteX4" fmla="*/ 1879513 w 2284179"/>
                  <a:gd name="connsiteY4" fmla="*/ 348052 h 1544644"/>
                  <a:gd name="connsiteX5" fmla="*/ 2284179 w 2284179"/>
                  <a:gd name="connsiteY5" fmla="*/ 0 h 1544644"/>
                  <a:gd name="connsiteX0" fmla="*/ 0 w 2284179"/>
                  <a:gd name="connsiteY0" fmla="*/ 1544644 h 1544644"/>
                  <a:gd name="connsiteX1" fmla="*/ 7288 w 2284179"/>
                  <a:gd name="connsiteY1" fmla="*/ 735890 h 1544644"/>
                  <a:gd name="connsiteX2" fmla="*/ 408020 w 2284179"/>
                  <a:gd name="connsiteY2" fmla="*/ 344957 h 1544644"/>
                  <a:gd name="connsiteX3" fmla="*/ 1209486 w 2284179"/>
                  <a:gd name="connsiteY3" fmla="*/ 346087 h 1544644"/>
                  <a:gd name="connsiteX4" fmla="*/ 1885123 w 2284179"/>
                  <a:gd name="connsiteY4" fmla="*/ 339637 h 1544644"/>
                  <a:gd name="connsiteX5" fmla="*/ 2284179 w 2284179"/>
                  <a:gd name="connsiteY5" fmla="*/ 0 h 1544644"/>
                  <a:gd name="connsiteX0" fmla="*/ 0 w 2284179"/>
                  <a:gd name="connsiteY0" fmla="*/ 1544644 h 1544644"/>
                  <a:gd name="connsiteX1" fmla="*/ 7288 w 2284179"/>
                  <a:gd name="connsiteY1" fmla="*/ 735890 h 1544644"/>
                  <a:gd name="connsiteX2" fmla="*/ 678203 w 2284179"/>
                  <a:gd name="connsiteY2" fmla="*/ 348597 h 1544644"/>
                  <a:gd name="connsiteX3" fmla="*/ 1209486 w 2284179"/>
                  <a:gd name="connsiteY3" fmla="*/ 346087 h 1544644"/>
                  <a:gd name="connsiteX4" fmla="*/ 1885123 w 2284179"/>
                  <a:gd name="connsiteY4" fmla="*/ 339637 h 1544644"/>
                  <a:gd name="connsiteX5" fmla="*/ 2284179 w 2284179"/>
                  <a:gd name="connsiteY5" fmla="*/ 0 h 1544644"/>
                  <a:gd name="connsiteX0" fmla="*/ 0 w 2284179"/>
                  <a:gd name="connsiteY0" fmla="*/ 1544644 h 1544644"/>
                  <a:gd name="connsiteX1" fmla="*/ 7288 w 2284179"/>
                  <a:gd name="connsiteY1" fmla="*/ 735890 h 1544644"/>
                  <a:gd name="connsiteX2" fmla="*/ 678203 w 2284179"/>
                  <a:gd name="connsiteY2" fmla="*/ 348597 h 1544644"/>
                  <a:gd name="connsiteX3" fmla="*/ 1209486 w 2284179"/>
                  <a:gd name="connsiteY3" fmla="*/ 346087 h 1544644"/>
                  <a:gd name="connsiteX4" fmla="*/ 1690928 w 2284179"/>
                  <a:gd name="connsiteY4" fmla="*/ 339637 h 1544644"/>
                  <a:gd name="connsiteX5" fmla="*/ 2284179 w 2284179"/>
                  <a:gd name="connsiteY5" fmla="*/ 0 h 1544644"/>
                  <a:gd name="connsiteX0" fmla="*/ 0 w 2284179"/>
                  <a:gd name="connsiteY0" fmla="*/ 1544644 h 1544644"/>
                  <a:gd name="connsiteX1" fmla="*/ 7288 w 2284179"/>
                  <a:gd name="connsiteY1" fmla="*/ 735890 h 1544644"/>
                  <a:gd name="connsiteX2" fmla="*/ 678203 w 2284179"/>
                  <a:gd name="connsiteY2" fmla="*/ 348597 h 1544644"/>
                  <a:gd name="connsiteX3" fmla="*/ 1209486 w 2284179"/>
                  <a:gd name="connsiteY3" fmla="*/ 346087 h 1544644"/>
                  <a:gd name="connsiteX4" fmla="*/ 1690928 w 2284179"/>
                  <a:gd name="connsiteY4" fmla="*/ 339637 h 1544644"/>
                  <a:gd name="connsiteX5" fmla="*/ 2284179 w 2284179"/>
                  <a:gd name="connsiteY5" fmla="*/ 0 h 1544644"/>
                  <a:gd name="connsiteX0" fmla="*/ 0 w 2284179"/>
                  <a:gd name="connsiteY0" fmla="*/ 1544644 h 1544644"/>
                  <a:gd name="connsiteX1" fmla="*/ 7288 w 2284179"/>
                  <a:gd name="connsiteY1" fmla="*/ 735890 h 1544644"/>
                  <a:gd name="connsiteX2" fmla="*/ 678203 w 2284179"/>
                  <a:gd name="connsiteY2" fmla="*/ 348597 h 1544644"/>
                  <a:gd name="connsiteX3" fmla="*/ 1209486 w 2284179"/>
                  <a:gd name="connsiteY3" fmla="*/ 346087 h 1544644"/>
                  <a:gd name="connsiteX4" fmla="*/ 1690928 w 2284179"/>
                  <a:gd name="connsiteY4" fmla="*/ 339637 h 1544644"/>
                  <a:gd name="connsiteX5" fmla="*/ 2284179 w 2284179"/>
                  <a:gd name="connsiteY5" fmla="*/ 0 h 1544644"/>
                  <a:gd name="connsiteX0" fmla="*/ 0 w 2284179"/>
                  <a:gd name="connsiteY0" fmla="*/ 1544644 h 1544644"/>
                  <a:gd name="connsiteX1" fmla="*/ 7288 w 2284179"/>
                  <a:gd name="connsiteY1" fmla="*/ 735890 h 1544644"/>
                  <a:gd name="connsiteX2" fmla="*/ 678203 w 2284179"/>
                  <a:gd name="connsiteY2" fmla="*/ 348597 h 1544644"/>
                  <a:gd name="connsiteX3" fmla="*/ 1209486 w 2284179"/>
                  <a:gd name="connsiteY3" fmla="*/ 346087 h 1544644"/>
                  <a:gd name="connsiteX4" fmla="*/ 1690928 w 2284179"/>
                  <a:gd name="connsiteY4" fmla="*/ 343278 h 1544644"/>
                  <a:gd name="connsiteX5" fmla="*/ 2284179 w 2284179"/>
                  <a:gd name="connsiteY5" fmla="*/ 0 h 1544644"/>
                  <a:gd name="connsiteX0" fmla="*/ 0 w 2284179"/>
                  <a:gd name="connsiteY0" fmla="*/ 1544644 h 1544644"/>
                  <a:gd name="connsiteX1" fmla="*/ 7288 w 2284179"/>
                  <a:gd name="connsiteY1" fmla="*/ 735890 h 1544644"/>
                  <a:gd name="connsiteX2" fmla="*/ 678203 w 2284179"/>
                  <a:gd name="connsiteY2" fmla="*/ 348597 h 1544644"/>
                  <a:gd name="connsiteX3" fmla="*/ 1209486 w 2284179"/>
                  <a:gd name="connsiteY3" fmla="*/ 346087 h 1544644"/>
                  <a:gd name="connsiteX4" fmla="*/ 1681430 w 2284179"/>
                  <a:gd name="connsiteY4" fmla="*/ 349421 h 1544644"/>
                  <a:gd name="connsiteX5" fmla="*/ 2284179 w 2284179"/>
                  <a:gd name="connsiteY5" fmla="*/ 0 h 1544644"/>
                  <a:gd name="connsiteX0" fmla="*/ 0 w 2284179"/>
                  <a:gd name="connsiteY0" fmla="*/ 1544644 h 1544644"/>
                  <a:gd name="connsiteX1" fmla="*/ 7288 w 2284179"/>
                  <a:gd name="connsiteY1" fmla="*/ 735890 h 1544644"/>
                  <a:gd name="connsiteX2" fmla="*/ 678203 w 2284179"/>
                  <a:gd name="connsiteY2" fmla="*/ 348597 h 1544644"/>
                  <a:gd name="connsiteX3" fmla="*/ 1209486 w 2284179"/>
                  <a:gd name="connsiteY3" fmla="*/ 346087 h 1544644"/>
                  <a:gd name="connsiteX4" fmla="*/ 1690928 w 2284179"/>
                  <a:gd name="connsiteY4" fmla="*/ 347374 h 1544644"/>
                  <a:gd name="connsiteX5" fmla="*/ 2284179 w 2284179"/>
                  <a:gd name="connsiteY5" fmla="*/ 0 h 1544644"/>
                  <a:gd name="connsiteX0" fmla="*/ 0 w 2284179"/>
                  <a:gd name="connsiteY0" fmla="*/ 1544644 h 1544644"/>
                  <a:gd name="connsiteX1" fmla="*/ 7288 w 2284179"/>
                  <a:gd name="connsiteY1" fmla="*/ 735890 h 1544644"/>
                  <a:gd name="connsiteX2" fmla="*/ 678203 w 2284179"/>
                  <a:gd name="connsiteY2" fmla="*/ 348597 h 1544644"/>
                  <a:gd name="connsiteX3" fmla="*/ 1209486 w 2284179"/>
                  <a:gd name="connsiteY3" fmla="*/ 346087 h 1544644"/>
                  <a:gd name="connsiteX4" fmla="*/ 1614939 w 2284179"/>
                  <a:gd name="connsiteY4" fmla="*/ 347374 h 1544644"/>
                  <a:gd name="connsiteX5" fmla="*/ 2284179 w 2284179"/>
                  <a:gd name="connsiteY5" fmla="*/ 0 h 1544644"/>
                  <a:gd name="connsiteX0" fmla="*/ 0 w 2284179"/>
                  <a:gd name="connsiteY0" fmla="*/ 1544644 h 1544644"/>
                  <a:gd name="connsiteX1" fmla="*/ 7288 w 2284179"/>
                  <a:gd name="connsiteY1" fmla="*/ 735890 h 1544644"/>
                  <a:gd name="connsiteX2" fmla="*/ 682954 w 2284179"/>
                  <a:gd name="connsiteY2" fmla="*/ 346549 h 1544644"/>
                  <a:gd name="connsiteX3" fmla="*/ 1209486 w 2284179"/>
                  <a:gd name="connsiteY3" fmla="*/ 346087 h 1544644"/>
                  <a:gd name="connsiteX4" fmla="*/ 1614939 w 2284179"/>
                  <a:gd name="connsiteY4" fmla="*/ 347374 h 1544644"/>
                  <a:gd name="connsiteX5" fmla="*/ 2284179 w 2284179"/>
                  <a:gd name="connsiteY5" fmla="*/ 0 h 1544644"/>
                  <a:gd name="connsiteX0" fmla="*/ 0 w 2284414"/>
                  <a:gd name="connsiteY0" fmla="*/ 1544644 h 1544644"/>
                  <a:gd name="connsiteX1" fmla="*/ 7288 w 2284414"/>
                  <a:gd name="connsiteY1" fmla="*/ 735890 h 1544644"/>
                  <a:gd name="connsiteX2" fmla="*/ 682954 w 2284414"/>
                  <a:gd name="connsiteY2" fmla="*/ 346549 h 1544644"/>
                  <a:gd name="connsiteX3" fmla="*/ 1209486 w 2284414"/>
                  <a:gd name="connsiteY3" fmla="*/ 346087 h 1544644"/>
                  <a:gd name="connsiteX4" fmla="*/ 1614939 w 2284414"/>
                  <a:gd name="connsiteY4" fmla="*/ 347374 h 1544644"/>
                  <a:gd name="connsiteX5" fmla="*/ 2284179 w 2284414"/>
                  <a:gd name="connsiteY5" fmla="*/ 0 h 1544644"/>
                  <a:gd name="connsiteX0" fmla="*/ 0 w 2284416"/>
                  <a:gd name="connsiteY0" fmla="*/ 1544644 h 1544644"/>
                  <a:gd name="connsiteX1" fmla="*/ 7288 w 2284416"/>
                  <a:gd name="connsiteY1" fmla="*/ 735890 h 1544644"/>
                  <a:gd name="connsiteX2" fmla="*/ 682954 w 2284416"/>
                  <a:gd name="connsiteY2" fmla="*/ 346549 h 1544644"/>
                  <a:gd name="connsiteX3" fmla="*/ 1209486 w 2284416"/>
                  <a:gd name="connsiteY3" fmla="*/ 346087 h 1544644"/>
                  <a:gd name="connsiteX4" fmla="*/ 1614939 w 2284416"/>
                  <a:gd name="connsiteY4" fmla="*/ 347374 h 1544644"/>
                  <a:gd name="connsiteX5" fmla="*/ 2284179 w 2284416"/>
                  <a:gd name="connsiteY5" fmla="*/ 0 h 1544644"/>
                  <a:gd name="connsiteX0" fmla="*/ 0 w 2284414"/>
                  <a:gd name="connsiteY0" fmla="*/ 1544644 h 1544644"/>
                  <a:gd name="connsiteX1" fmla="*/ 7288 w 2284414"/>
                  <a:gd name="connsiteY1" fmla="*/ 735890 h 1544644"/>
                  <a:gd name="connsiteX2" fmla="*/ 682954 w 2284414"/>
                  <a:gd name="connsiteY2" fmla="*/ 346549 h 1544644"/>
                  <a:gd name="connsiteX3" fmla="*/ 1209486 w 2284414"/>
                  <a:gd name="connsiteY3" fmla="*/ 346087 h 1544644"/>
                  <a:gd name="connsiteX4" fmla="*/ 1614939 w 2284414"/>
                  <a:gd name="connsiteY4" fmla="*/ 347374 h 1544644"/>
                  <a:gd name="connsiteX5" fmla="*/ 2284179 w 2284414"/>
                  <a:gd name="connsiteY5" fmla="*/ 0 h 1544644"/>
                  <a:gd name="connsiteX0" fmla="*/ 0 w 2284416"/>
                  <a:gd name="connsiteY0" fmla="*/ 1544644 h 1544644"/>
                  <a:gd name="connsiteX1" fmla="*/ 7288 w 2284416"/>
                  <a:gd name="connsiteY1" fmla="*/ 735890 h 1544644"/>
                  <a:gd name="connsiteX2" fmla="*/ 682954 w 2284416"/>
                  <a:gd name="connsiteY2" fmla="*/ 346549 h 1544644"/>
                  <a:gd name="connsiteX3" fmla="*/ 1209486 w 2284416"/>
                  <a:gd name="connsiteY3" fmla="*/ 346087 h 1544644"/>
                  <a:gd name="connsiteX4" fmla="*/ 1614939 w 2284416"/>
                  <a:gd name="connsiteY4" fmla="*/ 347374 h 1544644"/>
                  <a:gd name="connsiteX5" fmla="*/ 2284179 w 2284416"/>
                  <a:gd name="connsiteY5" fmla="*/ 0 h 15446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84416" h="1544644">
                    <a:moveTo>
                      <a:pt x="0" y="1544644"/>
                    </a:moveTo>
                    <a:cubicBezTo>
                      <a:pt x="11644" y="894119"/>
                      <a:pt x="8502" y="964794"/>
                      <a:pt x="7288" y="735890"/>
                    </a:cubicBezTo>
                    <a:cubicBezTo>
                      <a:pt x="-8499" y="452340"/>
                      <a:pt x="341208" y="346170"/>
                      <a:pt x="682954" y="346549"/>
                    </a:cubicBezTo>
                    <a:lnTo>
                      <a:pt x="1209486" y="346087"/>
                    </a:lnTo>
                    <a:lnTo>
                      <a:pt x="1614939" y="347374"/>
                    </a:lnTo>
                    <a:cubicBezTo>
                      <a:pt x="2094410" y="347978"/>
                      <a:pt x="2292247" y="136874"/>
                      <a:pt x="2284179" y="0"/>
                    </a:cubicBezTo>
                  </a:path>
                </a:pathLst>
              </a:custGeom>
              <a:noFill/>
              <a:ln>
                <a:solidFill>
                  <a:schemeClr val="tx2"/>
                </a:solidFill>
                <a:headEnd type="oval" w="med" len="med"/>
                <a:tailEnd type="oval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6" name="Freeform 197"/>
              <p:cNvSpPr/>
              <p:nvPr/>
            </p:nvSpPr>
            <p:spPr>
              <a:xfrm flipH="1">
                <a:off x="8729924" y="3232149"/>
                <a:ext cx="1145383" cy="1796257"/>
              </a:xfrm>
              <a:custGeom>
                <a:avLst/>
                <a:gdLst>
                  <a:gd name="connsiteX0" fmla="*/ 0 w 112934"/>
                  <a:gd name="connsiteY0" fmla="*/ 0 h 69217"/>
                  <a:gd name="connsiteX1" fmla="*/ 43717 w 112934"/>
                  <a:gd name="connsiteY1" fmla="*/ 18215 h 69217"/>
                  <a:gd name="connsiteX2" fmla="*/ 112934 w 112934"/>
                  <a:gd name="connsiteY2" fmla="*/ 69217 h 69217"/>
                  <a:gd name="connsiteX0" fmla="*/ 130924 w 2418746"/>
                  <a:gd name="connsiteY0" fmla="*/ 0 h 109291"/>
                  <a:gd name="connsiteX1" fmla="*/ 174641 w 2418746"/>
                  <a:gd name="connsiteY1" fmla="*/ 18215 h 109291"/>
                  <a:gd name="connsiteX2" fmla="*/ 2418746 w 2418746"/>
                  <a:gd name="connsiteY2" fmla="*/ 109291 h 109291"/>
                  <a:gd name="connsiteX0" fmla="*/ 121571 w 2423965"/>
                  <a:gd name="connsiteY0" fmla="*/ 1383907 h 1383967"/>
                  <a:gd name="connsiteX1" fmla="*/ 179860 w 2423965"/>
                  <a:gd name="connsiteY1" fmla="*/ 76060 h 1383967"/>
                  <a:gd name="connsiteX2" fmla="*/ 2423965 w 2423965"/>
                  <a:gd name="connsiteY2" fmla="*/ 167136 h 1383967"/>
                  <a:gd name="connsiteX0" fmla="*/ 0 w 2302394"/>
                  <a:gd name="connsiteY0" fmla="*/ 1220236 h 1220335"/>
                  <a:gd name="connsiteX1" fmla="*/ 1216772 w 2302394"/>
                  <a:gd name="connsiteY1" fmla="*/ 349552 h 1220335"/>
                  <a:gd name="connsiteX2" fmla="*/ 2302394 w 2302394"/>
                  <a:gd name="connsiteY2" fmla="*/ 3465 h 1220335"/>
                  <a:gd name="connsiteX0" fmla="*/ 0 w 2302394"/>
                  <a:gd name="connsiteY0" fmla="*/ 1218509 h 1218586"/>
                  <a:gd name="connsiteX1" fmla="*/ 1216772 w 2302394"/>
                  <a:gd name="connsiteY1" fmla="*/ 347825 h 1218586"/>
                  <a:gd name="connsiteX2" fmla="*/ 2302394 w 2302394"/>
                  <a:gd name="connsiteY2" fmla="*/ 1738 h 1218586"/>
                  <a:gd name="connsiteX0" fmla="*/ 0 w 2302394"/>
                  <a:gd name="connsiteY0" fmla="*/ 1216771 h 1216848"/>
                  <a:gd name="connsiteX1" fmla="*/ 1216772 w 2302394"/>
                  <a:gd name="connsiteY1" fmla="*/ 346087 h 1216848"/>
                  <a:gd name="connsiteX2" fmla="*/ 2302394 w 2302394"/>
                  <a:gd name="connsiteY2" fmla="*/ 0 h 1216848"/>
                  <a:gd name="connsiteX0" fmla="*/ 0 w 2302394"/>
                  <a:gd name="connsiteY0" fmla="*/ 1216771 h 1216771"/>
                  <a:gd name="connsiteX1" fmla="*/ 1216772 w 2302394"/>
                  <a:gd name="connsiteY1" fmla="*/ 346087 h 1216771"/>
                  <a:gd name="connsiteX2" fmla="*/ 2302394 w 2302394"/>
                  <a:gd name="connsiteY2" fmla="*/ 0 h 1216771"/>
                  <a:gd name="connsiteX0" fmla="*/ 0 w 2287822"/>
                  <a:gd name="connsiteY0" fmla="*/ 1216771 h 1216771"/>
                  <a:gd name="connsiteX1" fmla="*/ 1202200 w 2287822"/>
                  <a:gd name="connsiteY1" fmla="*/ 346087 h 1216771"/>
                  <a:gd name="connsiteX2" fmla="*/ 2287822 w 2287822"/>
                  <a:gd name="connsiteY2" fmla="*/ 0 h 1216771"/>
                  <a:gd name="connsiteX0" fmla="*/ 0 w 2295108"/>
                  <a:gd name="connsiteY0" fmla="*/ 1220414 h 1220414"/>
                  <a:gd name="connsiteX1" fmla="*/ 1209486 w 2295108"/>
                  <a:gd name="connsiteY1" fmla="*/ 346087 h 1220414"/>
                  <a:gd name="connsiteX2" fmla="*/ 2295108 w 2295108"/>
                  <a:gd name="connsiteY2" fmla="*/ 0 h 1220414"/>
                  <a:gd name="connsiteX0" fmla="*/ 0 w 2295108"/>
                  <a:gd name="connsiteY0" fmla="*/ 1220414 h 1220414"/>
                  <a:gd name="connsiteX1" fmla="*/ 1209486 w 2295108"/>
                  <a:gd name="connsiteY1" fmla="*/ 346087 h 1220414"/>
                  <a:gd name="connsiteX2" fmla="*/ 2295108 w 2295108"/>
                  <a:gd name="connsiteY2" fmla="*/ 0 h 1220414"/>
                  <a:gd name="connsiteX0" fmla="*/ 0 w 2295108"/>
                  <a:gd name="connsiteY0" fmla="*/ 1220414 h 1220414"/>
                  <a:gd name="connsiteX1" fmla="*/ 1209486 w 2295108"/>
                  <a:gd name="connsiteY1" fmla="*/ 346087 h 1220414"/>
                  <a:gd name="connsiteX2" fmla="*/ 2295108 w 2295108"/>
                  <a:gd name="connsiteY2" fmla="*/ 0 h 1220414"/>
                  <a:gd name="connsiteX0" fmla="*/ 0 w 2284179"/>
                  <a:gd name="connsiteY0" fmla="*/ 1220414 h 1220414"/>
                  <a:gd name="connsiteX1" fmla="*/ 1209486 w 2284179"/>
                  <a:gd name="connsiteY1" fmla="*/ 346087 h 1220414"/>
                  <a:gd name="connsiteX2" fmla="*/ 2284179 w 2284179"/>
                  <a:gd name="connsiteY2" fmla="*/ 0 h 1220414"/>
                  <a:gd name="connsiteX0" fmla="*/ 0 w 2284179"/>
                  <a:gd name="connsiteY0" fmla="*/ 1220414 h 1220414"/>
                  <a:gd name="connsiteX1" fmla="*/ 1209486 w 2284179"/>
                  <a:gd name="connsiteY1" fmla="*/ 346087 h 1220414"/>
                  <a:gd name="connsiteX2" fmla="*/ 2284179 w 2284179"/>
                  <a:gd name="connsiteY2" fmla="*/ 0 h 1220414"/>
                  <a:gd name="connsiteX0" fmla="*/ 0 w 2284179"/>
                  <a:gd name="connsiteY0" fmla="*/ 1220414 h 1220414"/>
                  <a:gd name="connsiteX1" fmla="*/ 1209486 w 2284179"/>
                  <a:gd name="connsiteY1" fmla="*/ 346087 h 1220414"/>
                  <a:gd name="connsiteX2" fmla="*/ 2284179 w 2284179"/>
                  <a:gd name="connsiteY2" fmla="*/ 0 h 1220414"/>
                  <a:gd name="connsiteX0" fmla="*/ 0 w 2284179"/>
                  <a:gd name="connsiteY0" fmla="*/ 1220414 h 1220414"/>
                  <a:gd name="connsiteX1" fmla="*/ 1209486 w 2284179"/>
                  <a:gd name="connsiteY1" fmla="*/ 346087 h 1220414"/>
                  <a:gd name="connsiteX2" fmla="*/ 2284179 w 2284179"/>
                  <a:gd name="connsiteY2" fmla="*/ 0 h 1220414"/>
                  <a:gd name="connsiteX0" fmla="*/ 0 w 2284179"/>
                  <a:gd name="connsiteY0" fmla="*/ 1220414 h 1220414"/>
                  <a:gd name="connsiteX1" fmla="*/ 1209486 w 2284179"/>
                  <a:gd name="connsiteY1" fmla="*/ 346087 h 1220414"/>
                  <a:gd name="connsiteX2" fmla="*/ 2284179 w 2284179"/>
                  <a:gd name="connsiteY2" fmla="*/ 0 h 1220414"/>
                  <a:gd name="connsiteX0" fmla="*/ 0 w 2284179"/>
                  <a:gd name="connsiteY0" fmla="*/ 1220414 h 1220414"/>
                  <a:gd name="connsiteX1" fmla="*/ 1209486 w 2284179"/>
                  <a:gd name="connsiteY1" fmla="*/ 346087 h 1220414"/>
                  <a:gd name="connsiteX2" fmla="*/ 2284179 w 2284179"/>
                  <a:gd name="connsiteY2" fmla="*/ 0 h 1220414"/>
                  <a:gd name="connsiteX0" fmla="*/ 0 w 2284179"/>
                  <a:gd name="connsiteY0" fmla="*/ 1220414 h 1220414"/>
                  <a:gd name="connsiteX1" fmla="*/ 801467 w 2284179"/>
                  <a:gd name="connsiteY1" fmla="*/ 349728 h 1220414"/>
                  <a:gd name="connsiteX2" fmla="*/ 1209486 w 2284179"/>
                  <a:gd name="connsiteY2" fmla="*/ 346087 h 1220414"/>
                  <a:gd name="connsiteX3" fmla="*/ 2284179 w 2284179"/>
                  <a:gd name="connsiteY3" fmla="*/ 0 h 1220414"/>
                  <a:gd name="connsiteX0" fmla="*/ 0 w 2284179"/>
                  <a:gd name="connsiteY0" fmla="*/ 1220414 h 1220414"/>
                  <a:gd name="connsiteX1" fmla="*/ 408020 w 2284179"/>
                  <a:gd name="connsiteY1" fmla="*/ 338799 h 1220414"/>
                  <a:gd name="connsiteX2" fmla="*/ 1209486 w 2284179"/>
                  <a:gd name="connsiteY2" fmla="*/ 346087 h 1220414"/>
                  <a:gd name="connsiteX3" fmla="*/ 2284179 w 2284179"/>
                  <a:gd name="connsiteY3" fmla="*/ 0 h 1220414"/>
                  <a:gd name="connsiteX0" fmla="*/ 0 w 2284179"/>
                  <a:gd name="connsiteY0" fmla="*/ 1220414 h 1220414"/>
                  <a:gd name="connsiteX1" fmla="*/ 408020 w 2284179"/>
                  <a:gd name="connsiteY1" fmla="*/ 338799 h 1220414"/>
                  <a:gd name="connsiteX2" fmla="*/ 1209486 w 2284179"/>
                  <a:gd name="connsiteY2" fmla="*/ 346087 h 1220414"/>
                  <a:gd name="connsiteX3" fmla="*/ 1803300 w 2284179"/>
                  <a:gd name="connsiteY3" fmla="*/ 302369 h 1220414"/>
                  <a:gd name="connsiteX4" fmla="*/ 2284179 w 2284179"/>
                  <a:gd name="connsiteY4" fmla="*/ 0 h 1220414"/>
                  <a:gd name="connsiteX0" fmla="*/ 0 w 2284179"/>
                  <a:gd name="connsiteY0" fmla="*/ 1220414 h 1220414"/>
                  <a:gd name="connsiteX1" fmla="*/ 408020 w 2284179"/>
                  <a:gd name="connsiteY1" fmla="*/ 338799 h 1220414"/>
                  <a:gd name="connsiteX2" fmla="*/ 1209486 w 2284179"/>
                  <a:gd name="connsiteY2" fmla="*/ 346087 h 1220414"/>
                  <a:gd name="connsiteX3" fmla="*/ 1890733 w 2284179"/>
                  <a:gd name="connsiteY3" fmla="*/ 342442 h 1220414"/>
                  <a:gd name="connsiteX4" fmla="*/ 2284179 w 2284179"/>
                  <a:gd name="connsiteY4" fmla="*/ 0 h 1220414"/>
                  <a:gd name="connsiteX0" fmla="*/ 0 w 2284179"/>
                  <a:gd name="connsiteY0" fmla="*/ 1220414 h 1220414"/>
                  <a:gd name="connsiteX1" fmla="*/ 408020 w 2284179"/>
                  <a:gd name="connsiteY1" fmla="*/ 338799 h 1220414"/>
                  <a:gd name="connsiteX2" fmla="*/ 1209486 w 2284179"/>
                  <a:gd name="connsiteY2" fmla="*/ 346087 h 1220414"/>
                  <a:gd name="connsiteX3" fmla="*/ 1890733 w 2284179"/>
                  <a:gd name="connsiteY3" fmla="*/ 342442 h 1220414"/>
                  <a:gd name="connsiteX4" fmla="*/ 2284179 w 2284179"/>
                  <a:gd name="connsiteY4" fmla="*/ 0 h 1220414"/>
                  <a:gd name="connsiteX0" fmla="*/ 0 w 2284179"/>
                  <a:gd name="connsiteY0" fmla="*/ 1220414 h 1220414"/>
                  <a:gd name="connsiteX1" fmla="*/ 408020 w 2284179"/>
                  <a:gd name="connsiteY1" fmla="*/ 338799 h 1220414"/>
                  <a:gd name="connsiteX2" fmla="*/ 1209486 w 2284179"/>
                  <a:gd name="connsiteY2" fmla="*/ 346087 h 1220414"/>
                  <a:gd name="connsiteX3" fmla="*/ 1890733 w 2284179"/>
                  <a:gd name="connsiteY3" fmla="*/ 342442 h 1220414"/>
                  <a:gd name="connsiteX4" fmla="*/ 2284179 w 2284179"/>
                  <a:gd name="connsiteY4" fmla="*/ 0 h 1220414"/>
                  <a:gd name="connsiteX0" fmla="*/ 0 w 2284179"/>
                  <a:gd name="connsiteY0" fmla="*/ 1220414 h 1220414"/>
                  <a:gd name="connsiteX1" fmla="*/ 408020 w 2284179"/>
                  <a:gd name="connsiteY1" fmla="*/ 338799 h 1220414"/>
                  <a:gd name="connsiteX2" fmla="*/ 1209486 w 2284179"/>
                  <a:gd name="connsiteY2" fmla="*/ 346087 h 1220414"/>
                  <a:gd name="connsiteX3" fmla="*/ 1890733 w 2284179"/>
                  <a:gd name="connsiteY3" fmla="*/ 342442 h 1220414"/>
                  <a:gd name="connsiteX4" fmla="*/ 2284179 w 2284179"/>
                  <a:gd name="connsiteY4" fmla="*/ 0 h 1220414"/>
                  <a:gd name="connsiteX0" fmla="*/ 0 w 2284179"/>
                  <a:gd name="connsiteY0" fmla="*/ 1220414 h 1220414"/>
                  <a:gd name="connsiteX1" fmla="*/ 408020 w 2284179"/>
                  <a:gd name="connsiteY1" fmla="*/ 338799 h 1220414"/>
                  <a:gd name="connsiteX2" fmla="*/ 1209486 w 2284179"/>
                  <a:gd name="connsiteY2" fmla="*/ 346087 h 1220414"/>
                  <a:gd name="connsiteX3" fmla="*/ 1890733 w 2284179"/>
                  <a:gd name="connsiteY3" fmla="*/ 342442 h 1220414"/>
                  <a:gd name="connsiteX4" fmla="*/ 2284179 w 2284179"/>
                  <a:gd name="connsiteY4" fmla="*/ 0 h 1220414"/>
                  <a:gd name="connsiteX0" fmla="*/ 0 w 2284179"/>
                  <a:gd name="connsiteY0" fmla="*/ 1548286 h 1548286"/>
                  <a:gd name="connsiteX1" fmla="*/ 408020 w 2284179"/>
                  <a:gd name="connsiteY1" fmla="*/ 338799 h 1548286"/>
                  <a:gd name="connsiteX2" fmla="*/ 1209486 w 2284179"/>
                  <a:gd name="connsiteY2" fmla="*/ 346087 h 1548286"/>
                  <a:gd name="connsiteX3" fmla="*/ 1890733 w 2284179"/>
                  <a:gd name="connsiteY3" fmla="*/ 342442 h 1548286"/>
                  <a:gd name="connsiteX4" fmla="*/ 2284179 w 2284179"/>
                  <a:gd name="connsiteY4" fmla="*/ 0 h 1548286"/>
                  <a:gd name="connsiteX0" fmla="*/ 49101 w 2333280"/>
                  <a:gd name="connsiteY0" fmla="*/ 1548286 h 1548286"/>
                  <a:gd name="connsiteX1" fmla="*/ 457121 w 2333280"/>
                  <a:gd name="connsiteY1" fmla="*/ 338799 h 1548286"/>
                  <a:gd name="connsiteX2" fmla="*/ 1258587 w 2333280"/>
                  <a:gd name="connsiteY2" fmla="*/ 346087 h 1548286"/>
                  <a:gd name="connsiteX3" fmla="*/ 1939834 w 2333280"/>
                  <a:gd name="connsiteY3" fmla="*/ 342442 h 1548286"/>
                  <a:gd name="connsiteX4" fmla="*/ 2333280 w 2333280"/>
                  <a:gd name="connsiteY4" fmla="*/ 0 h 1548286"/>
                  <a:gd name="connsiteX0" fmla="*/ 49101 w 2333280"/>
                  <a:gd name="connsiteY0" fmla="*/ 1548286 h 1548286"/>
                  <a:gd name="connsiteX1" fmla="*/ 457121 w 2333280"/>
                  <a:gd name="connsiteY1" fmla="*/ 338799 h 1548286"/>
                  <a:gd name="connsiteX2" fmla="*/ 1258587 w 2333280"/>
                  <a:gd name="connsiteY2" fmla="*/ 346087 h 1548286"/>
                  <a:gd name="connsiteX3" fmla="*/ 1939834 w 2333280"/>
                  <a:gd name="connsiteY3" fmla="*/ 342442 h 1548286"/>
                  <a:gd name="connsiteX4" fmla="*/ 2333280 w 2333280"/>
                  <a:gd name="connsiteY4" fmla="*/ 0 h 1548286"/>
                  <a:gd name="connsiteX0" fmla="*/ 53592 w 2326842"/>
                  <a:gd name="connsiteY0" fmla="*/ 750463 h 750463"/>
                  <a:gd name="connsiteX1" fmla="*/ 450683 w 2326842"/>
                  <a:gd name="connsiteY1" fmla="*/ 338799 h 750463"/>
                  <a:gd name="connsiteX2" fmla="*/ 1252149 w 2326842"/>
                  <a:gd name="connsiteY2" fmla="*/ 346087 h 750463"/>
                  <a:gd name="connsiteX3" fmla="*/ 1933396 w 2326842"/>
                  <a:gd name="connsiteY3" fmla="*/ 342442 h 750463"/>
                  <a:gd name="connsiteX4" fmla="*/ 2326842 w 2326842"/>
                  <a:gd name="connsiteY4" fmla="*/ 0 h 750463"/>
                  <a:gd name="connsiteX0" fmla="*/ 50602 w 2323852"/>
                  <a:gd name="connsiteY0" fmla="*/ 750463 h 750463"/>
                  <a:gd name="connsiteX1" fmla="*/ 447693 w 2323852"/>
                  <a:gd name="connsiteY1" fmla="*/ 338799 h 750463"/>
                  <a:gd name="connsiteX2" fmla="*/ 1249159 w 2323852"/>
                  <a:gd name="connsiteY2" fmla="*/ 346087 h 750463"/>
                  <a:gd name="connsiteX3" fmla="*/ 1930406 w 2323852"/>
                  <a:gd name="connsiteY3" fmla="*/ 342442 h 750463"/>
                  <a:gd name="connsiteX4" fmla="*/ 2323852 w 2323852"/>
                  <a:gd name="connsiteY4" fmla="*/ 0 h 750463"/>
                  <a:gd name="connsiteX0" fmla="*/ 0 w 2273250"/>
                  <a:gd name="connsiteY0" fmla="*/ 750463 h 750463"/>
                  <a:gd name="connsiteX1" fmla="*/ 397091 w 2273250"/>
                  <a:gd name="connsiteY1" fmla="*/ 338799 h 750463"/>
                  <a:gd name="connsiteX2" fmla="*/ 1198557 w 2273250"/>
                  <a:gd name="connsiteY2" fmla="*/ 346087 h 750463"/>
                  <a:gd name="connsiteX3" fmla="*/ 1879804 w 2273250"/>
                  <a:gd name="connsiteY3" fmla="*/ 342442 h 750463"/>
                  <a:gd name="connsiteX4" fmla="*/ 2273250 w 2273250"/>
                  <a:gd name="connsiteY4" fmla="*/ 0 h 750463"/>
                  <a:gd name="connsiteX0" fmla="*/ 0 w 2284179"/>
                  <a:gd name="connsiteY0" fmla="*/ 750463 h 750463"/>
                  <a:gd name="connsiteX1" fmla="*/ 408020 w 2284179"/>
                  <a:gd name="connsiteY1" fmla="*/ 338799 h 750463"/>
                  <a:gd name="connsiteX2" fmla="*/ 1209486 w 2284179"/>
                  <a:gd name="connsiteY2" fmla="*/ 346087 h 750463"/>
                  <a:gd name="connsiteX3" fmla="*/ 1890733 w 2284179"/>
                  <a:gd name="connsiteY3" fmla="*/ 342442 h 750463"/>
                  <a:gd name="connsiteX4" fmla="*/ 2284179 w 2284179"/>
                  <a:gd name="connsiteY4" fmla="*/ 0 h 750463"/>
                  <a:gd name="connsiteX0" fmla="*/ 14182 w 2298361"/>
                  <a:gd name="connsiteY0" fmla="*/ 750463 h 750463"/>
                  <a:gd name="connsiteX1" fmla="*/ 36043 w 2298361"/>
                  <a:gd name="connsiteY1" fmla="*/ 571954 h 750463"/>
                  <a:gd name="connsiteX2" fmla="*/ 422202 w 2298361"/>
                  <a:gd name="connsiteY2" fmla="*/ 338799 h 750463"/>
                  <a:gd name="connsiteX3" fmla="*/ 1223668 w 2298361"/>
                  <a:gd name="connsiteY3" fmla="*/ 346087 h 750463"/>
                  <a:gd name="connsiteX4" fmla="*/ 1904915 w 2298361"/>
                  <a:gd name="connsiteY4" fmla="*/ 342442 h 750463"/>
                  <a:gd name="connsiteX5" fmla="*/ 2298361 w 2298361"/>
                  <a:gd name="connsiteY5" fmla="*/ 0 h 750463"/>
                  <a:gd name="connsiteX0" fmla="*/ 14182 w 2298361"/>
                  <a:gd name="connsiteY0" fmla="*/ 1544644 h 1544644"/>
                  <a:gd name="connsiteX1" fmla="*/ 36043 w 2298361"/>
                  <a:gd name="connsiteY1" fmla="*/ 571954 h 1544644"/>
                  <a:gd name="connsiteX2" fmla="*/ 422202 w 2298361"/>
                  <a:gd name="connsiteY2" fmla="*/ 338799 h 1544644"/>
                  <a:gd name="connsiteX3" fmla="*/ 1223668 w 2298361"/>
                  <a:gd name="connsiteY3" fmla="*/ 346087 h 1544644"/>
                  <a:gd name="connsiteX4" fmla="*/ 1904915 w 2298361"/>
                  <a:gd name="connsiteY4" fmla="*/ 342442 h 1544644"/>
                  <a:gd name="connsiteX5" fmla="*/ 2298361 w 2298361"/>
                  <a:gd name="connsiteY5" fmla="*/ 0 h 1544644"/>
                  <a:gd name="connsiteX0" fmla="*/ 24062 w 2308241"/>
                  <a:gd name="connsiteY0" fmla="*/ 1544644 h 1544644"/>
                  <a:gd name="connsiteX1" fmla="*/ 31350 w 2308241"/>
                  <a:gd name="connsiteY1" fmla="*/ 735890 h 1544644"/>
                  <a:gd name="connsiteX2" fmla="*/ 432082 w 2308241"/>
                  <a:gd name="connsiteY2" fmla="*/ 338799 h 1544644"/>
                  <a:gd name="connsiteX3" fmla="*/ 1233548 w 2308241"/>
                  <a:gd name="connsiteY3" fmla="*/ 346087 h 1544644"/>
                  <a:gd name="connsiteX4" fmla="*/ 1914795 w 2308241"/>
                  <a:gd name="connsiteY4" fmla="*/ 342442 h 1544644"/>
                  <a:gd name="connsiteX5" fmla="*/ 2308241 w 2308241"/>
                  <a:gd name="connsiteY5" fmla="*/ 0 h 1544644"/>
                  <a:gd name="connsiteX0" fmla="*/ 0 w 2284179"/>
                  <a:gd name="connsiteY0" fmla="*/ 1544644 h 1544644"/>
                  <a:gd name="connsiteX1" fmla="*/ 7288 w 2284179"/>
                  <a:gd name="connsiteY1" fmla="*/ 735890 h 1544644"/>
                  <a:gd name="connsiteX2" fmla="*/ 408020 w 2284179"/>
                  <a:gd name="connsiteY2" fmla="*/ 338799 h 1544644"/>
                  <a:gd name="connsiteX3" fmla="*/ 1209486 w 2284179"/>
                  <a:gd name="connsiteY3" fmla="*/ 346087 h 1544644"/>
                  <a:gd name="connsiteX4" fmla="*/ 1890733 w 2284179"/>
                  <a:gd name="connsiteY4" fmla="*/ 342442 h 1544644"/>
                  <a:gd name="connsiteX5" fmla="*/ 2284179 w 2284179"/>
                  <a:gd name="connsiteY5" fmla="*/ 0 h 1544644"/>
                  <a:gd name="connsiteX0" fmla="*/ 0 w 2284179"/>
                  <a:gd name="connsiteY0" fmla="*/ 1544644 h 1544644"/>
                  <a:gd name="connsiteX1" fmla="*/ 7288 w 2284179"/>
                  <a:gd name="connsiteY1" fmla="*/ 735890 h 1544644"/>
                  <a:gd name="connsiteX2" fmla="*/ 408020 w 2284179"/>
                  <a:gd name="connsiteY2" fmla="*/ 338799 h 1544644"/>
                  <a:gd name="connsiteX3" fmla="*/ 1209486 w 2284179"/>
                  <a:gd name="connsiteY3" fmla="*/ 346087 h 1544644"/>
                  <a:gd name="connsiteX4" fmla="*/ 1890733 w 2284179"/>
                  <a:gd name="connsiteY4" fmla="*/ 342442 h 1544644"/>
                  <a:gd name="connsiteX5" fmla="*/ 2284179 w 2284179"/>
                  <a:gd name="connsiteY5" fmla="*/ 0 h 1544644"/>
                  <a:gd name="connsiteX0" fmla="*/ 0 w 2284179"/>
                  <a:gd name="connsiteY0" fmla="*/ 1544644 h 1544644"/>
                  <a:gd name="connsiteX1" fmla="*/ 7288 w 2284179"/>
                  <a:gd name="connsiteY1" fmla="*/ 735890 h 1544644"/>
                  <a:gd name="connsiteX2" fmla="*/ 408020 w 2284179"/>
                  <a:gd name="connsiteY2" fmla="*/ 338799 h 1544644"/>
                  <a:gd name="connsiteX3" fmla="*/ 1209486 w 2284179"/>
                  <a:gd name="connsiteY3" fmla="*/ 346087 h 1544644"/>
                  <a:gd name="connsiteX4" fmla="*/ 1890733 w 2284179"/>
                  <a:gd name="connsiteY4" fmla="*/ 342442 h 1544644"/>
                  <a:gd name="connsiteX5" fmla="*/ 2284179 w 2284179"/>
                  <a:gd name="connsiteY5" fmla="*/ 0 h 1544644"/>
                  <a:gd name="connsiteX0" fmla="*/ 0 w 2284179"/>
                  <a:gd name="connsiteY0" fmla="*/ 1544644 h 1544644"/>
                  <a:gd name="connsiteX1" fmla="*/ 7288 w 2284179"/>
                  <a:gd name="connsiteY1" fmla="*/ 735890 h 1544644"/>
                  <a:gd name="connsiteX2" fmla="*/ 408020 w 2284179"/>
                  <a:gd name="connsiteY2" fmla="*/ 338799 h 1544644"/>
                  <a:gd name="connsiteX3" fmla="*/ 1209486 w 2284179"/>
                  <a:gd name="connsiteY3" fmla="*/ 346087 h 1544644"/>
                  <a:gd name="connsiteX4" fmla="*/ 1890733 w 2284179"/>
                  <a:gd name="connsiteY4" fmla="*/ 342442 h 1544644"/>
                  <a:gd name="connsiteX5" fmla="*/ 2284179 w 2284179"/>
                  <a:gd name="connsiteY5" fmla="*/ 0 h 1544644"/>
                  <a:gd name="connsiteX0" fmla="*/ 0 w 2284179"/>
                  <a:gd name="connsiteY0" fmla="*/ 1544644 h 1544644"/>
                  <a:gd name="connsiteX1" fmla="*/ 7288 w 2284179"/>
                  <a:gd name="connsiteY1" fmla="*/ 735890 h 1544644"/>
                  <a:gd name="connsiteX2" fmla="*/ 408020 w 2284179"/>
                  <a:gd name="connsiteY2" fmla="*/ 338799 h 1544644"/>
                  <a:gd name="connsiteX3" fmla="*/ 1209486 w 2284179"/>
                  <a:gd name="connsiteY3" fmla="*/ 346087 h 1544644"/>
                  <a:gd name="connsiteX4" fmla="*/ 1890733 w 2284179"/>
                  <a:gd name="connsiteY4" fmla="*/ 342442 h 1544644"/>
                  <a:gd name="connsiteX5" fmla="*/ 2284179 w 2284179"/>
                  <a:gd name="connsiteY5" fmla="*/ 0 h 1544644"/>
                  <a:gd name="connsiteX0" fmla="*/ 0 w 2284179"/>
                  <a:gd name="connsiteY0" fmla="*/ 1544644 h 1544644"/>
                  <a:gd name="connsiteX1" fmla="*/ 7288 w 2284179"/>
                  <a:gd name="connsiteY1" fmla="*/ 735890 h 1544644"/>
                  <a:gd name="connsiteX2" fmla="*/ 408020 w 2284179"/>
                  <a:gd name="connsiteY2" fmla="*/ 338799 h 1544644"/>
                  <a:gd name="connsiteX3" fmla="*/ 1209486 w 2284179"/>
                  <a:gd name="connsiteY3" fmla="*/ 346087 h 1544644"/>
                  <a:gd name="connsiteX4" fmla="*/ 1890733 w 2284179"/>
                  <a:gd name="connsiteY4" fmla="*/ 342442 h 1544644"/>
                  <a:gd name="connsiteX5" fmla="*/ 2284179 w 2284179"/>
                  <a:gd name="connsiteY5" fmla="*/ 0 h 1544644"/>
                  <a:gd name="connsiteX0" fmla="*/ 0 w 2284179"/>
                  <a:gd name="connsiteY0" fmla="*/ 1544644 h 1544644"/>
                  <a:gd name="connsiteX1" fmla="*/ 7288 w 2284179"/>
                  <a:gd name="connsiteY1" fmla="*/ 735890 h 1544644"/>
                  <a:gd name="connsiteX2" fmla="*/ 408020 w 2284179"/>
                  <a:gd name="connsiteY2" fmla="*/ 344957 h 1544644"/>
                  <a:gd name="connsiteX3" fmla="*/ 1209486 w 2284179"/>
                  <a:gd name="connsiteY3" fmla="*/ 346087 h 1544644"/>
                  <a:gd name="connsiteX4" fmla="*/ 1890733 w 2284179"/>
                  <a:gd name="connsiteY4" fmla="*/ 342442 h 1544644"/>
                  <a:gd name="connsiteX5" fmla="*/ 2284179 w 2284179"/>
                  <a:gd name="connsiteY5" fmla="*/ 0 h 1544644"/>
                  <a:gd name="connsiteX0" fmla="*/ 0 w 2284179"/>
                  <a:gd name="connsiteY0" fmla="*/ 1544644 h 1544644"/>
                  <a:gd name="connsiteX1" fmla="*/ 7288 w 2284179"/>
                  <a:gd name="connsiteY1" fmla="*/ 735890 h 1544644"/>
                  <a:gd name="connsiteX2" fmla="*/ 408020 w 2284179"/>
                  <a:gd name="connsiteY2" fmla="*/ 344957 h 1544644"/>
                  <a:gd name="connsiteX3" fmla="*/ 1209486 w 2284179"/>
                  <a:gd name="connsiteY3" fmla="*/ 346087 h 1544644"/>
                  <a:gd name="connsiteX4" fmla="*/ 1890733 w 2284179"/>
                  <a:gd name="connsiteY4" fmla="*/ 342442 h 1544644"/>
                  <a:gd name="connsiteX5" fmla="*/ 2284179 w 2284179"/>
                  <a:gd name="connsiteY5" fmla="*/ 0 h 1544644"/>
                  <a:gd name="connsiteX0" fmla="*/ 0 w 2284179"/>
                  <a:gd name="connsiteY0" fmla="*/ 1544644 h 1544644"/>
                  <a:gd name="connsiteX1" fmla="*/ 7288 w 2284179"/>
                  <a:gd name="connsiteY1" fmla="*/ 735890 h 1544644"/>
                  <a:gd name="connsiteX2" fmla="*/ 408020 w 2284179"/>
                  <a:gd name="connsiteY2" fmla="*/ 344957 h 1544644"/>
                  <a:gd name="connsiteX3" fmla="*/ 1209486 w 2284179"/>
                  <a:gd name="connsiteY3" fmla="*/ 346087 h 1544644"/>
                  <a:gd name="connsiteX4" fmla="*/ 1879513 w 2284179"/>
                  <a:gd name="connsiteY4" fmla="*/ 348052 h 1544644"/>
                  <a:gd name="connsiteX5" fmla="*/ 2284179 w 2284179"/>
                  <a:gd name="connsiteY5" fmla="*/ 0 h 1544644"/>
                  <a:gd name="connsiteX0" fmla="*/ 0 w 2284179"/>
                  <a:gd name="connsiteY0" fmla="*/ 1544644 h 1544644"/>
                  <a:gd name="connsiteX1" fmla="*/ 7288 w 2284179"/>
                  <a:gd name="connsiteY1" fmla="*/ 735890 h 1544644"/>
                  <a:gd name="connsiteX2" fmla="*/ 408020 w 2284179"/>
                  <a:gd name="connsiteY2" fmla="*/ 344957 h 1544644"/>
                  <a:gd name="connsiteX3" fmla="*/ 1209486 w 2284179"/>
                  <a:gd name="connsiteY3" fmla="*/ 346087 h 1544644"/>
                  <a:gd name="connsiteX4" fmla="*/ 1885123 w 2284179"/>
                  <a:gd name="connsiteY4" fmla="*/ 339637 h 1544644"/>
                  <a:gd name="connsiteX5" fmla="*/ 2284179 w 2284179"/>
                  <a:gd name="connsiteY5" fmla="*/ 0 h 1544644"/>
                  <a:gd name="connsiteX0" fmla="*/ 0 w 2284179"/>
                  <a:gd name="connsiteY0" fmla="*/ 1544644 h 1544644"/>
                  <a:gd name="connsiteX1" fmla="*/ 7288 w 2284179"/>
                  <a:gd name="connsiteY1" fmla="*/ 735890 h 1544644"/>
                  <a:gd name="connsiteX2" fmla="*/ 678203 w 2284179"/>
                  <a:gd name="connsiteY2" fmla="*/ 348597 h 1544644"/>
                  <a:gd name="connsiteX3" fmla="*/ 1209486 w 2284179"/>
                  <a:gd name="connsiteY3" fmla="*/ 346087 h 1544644"/>
                  <a:gd name="connsiteX4" fmla="*/ 1885123 w 2284179"/>
                  <a:gd name="connsiteY4" fmla="*/ 339637 h 1544644"/>
                  <a:gd name="connsiteX5" fmla="*/ 2284179 w 2284179"/>
                  <a:gd name="connsiteY5" fmla="*/ 0 h 1544644"/>
                  <a:gd name="connsiteX0" fmla="*/ 0 w 2284179"/>
                  <a:gd name="connsiteY0" fmla="*/ 1544644 h 1544644"/>
                  <a:gd name="connsiteX1" fmla="*/ 7288 w 2284179"/>
                  <a:gd name="connsiteY1" fmla="*/ 735890 h 1544644"/>
                  <a:gd name="connsiteX2" fmla="*/ 678203 w 2284179"/>
                  <a:gd name="connsiteY2" fmla="*/ 348597 h 1544644"/>
                  <a:gd name="connsiteX3" fmla="*/ 1209486 w 2284179"/>
                  <a:gd name="connsiteY3" fmla="*/ 346087 h 1544644"/>
                  <a:gd name="connsiteX4" fmla="*/ 1690928 w 2284179"/>
                  <a:gd name="connsiteY4" fmla="*/ 339637 h 1544644"/>
                  <a:gd name="connsiteX5" fmla="*/ 2284179 w 2284179"/>
                  <a:gd name="connsiteY5" fmla="*/ 0 h 1544644"/>
                  <a:gd name="connsiteX0" fmla="*/ 0 w 2284179"/>
                  <a:gd name="connsiteY0" fmla="*/ 1544644 h 1544644"/>
                  <a:gd name="connsiteX1" fmla="*/ 7288 w 2284179"/>
                  <a:gd name="connsiteY1" fmla="*/ 735890 h 1544644"/>
                  <a:gd name="connsiteX2" fmla="*/ 678203 w 2284179"/>
                  <a:gd name="connsiteY2" fmla="*/ 348597 h 1544644"/>
                  <a:gd name="connsiteX3" fmla="*/ 1209486 w 2284179"/>
                  <a:gd name="connsiteY3" fmla="*/ 346087 h 1544644"/>
                  <a:gd name="connsiteX4" fmla="*/ 1690928 w 2284179"/>
                  <a:gd name="connsiteY4" fmla="*/ 339637 h 1544644"/>
                  <a:gd name="connsiteX5" fmla="*/ 2284179 w 2284179"/>
                  <a:gd name="connsiteY5" fmla="*/ 0 h 1544644"/>
                  <a:gd name="connsiteX0" fmla="*/ 0 w 2284179"/>
                  <a:gd name="connsiteY0" fmla="*/ 1544644 h 1544644"/>
                  <a:gd name="connsiteX1" fmla="*/ 7288 w 2284179"/>
                  <a:gd name="connsiteY1" fmla="*/ 735890 h 1544644"/>
                  <a:gd name="connsiteX2" fmla="*/ 678203 w 2284179"/>
                  <a:gd name="connsiteY2" fmla="*/ 348597 h 1544644"/>
                  <a:gd name="connsiteX3" fmla="*/ 1209486 w 2284179"/>
                  <a:gd name="connsiteY3" fmla="*/ 346087 h 1544644"/>
                  <a:gd name="connsiteX4" fmla="*/ 1690928 w 2284179"/>
                  <a:gd name="connsiteY4" fmla="*/ 339637 h 1544644"/>
                  <a:gd name="connsiteX5" fmla="*/ 2284179 w 2284179"/>
                  <a:gd name="connsiteY5" fmla="*/ 0 h 1544644"/>
                  <a:gd name="connsiteX0" fmla="*/ 0 w 2284179"/>
                  <a:gd name="connsiteY0" fmla="*/ 1544644 h 1544644"/>
                  <a:gd name="connsiteX1" fmla="*/ 7288 w 2284179"/>
                  <a:gd name="connsiteY1" fmla="*/ 735890 h 1544644"/>
                  <a:gd name="connsiteX2" fmla="*/ 678203 w 2284179"/>
                  <a:gd name="connsiteY2" fmla="*/ 348597 h 1544644"/>
                  <a:gd name="connsiteX3" fmla="*/ 1209486 w 2284179"/>
                  <a:gd name="connsiteY3" fmla="*/ 346087 h 1544644"/>
                  <a:gd name="connsiteX4" fmla="*/ 1690928 w 2284179"/>
                  <a:gd name="connsiteY4" fmla="*/ 343278 h 1544644"/>
                  <a:gd name="connsiteX5" fmla="*/ 2284179 w 2284179"/>
                  <a:gd name="connsiteY5" fmla="*/ 0 h 1544644"/>
                  <a:gd name="connsiteX0" fmla="*/ 0 w 2284179"/>
                  <a:gd name="connsiteY0" fmla="*/ 1544644 h 1544644"/>
                  <a:gd name="connsiteX1" fmla="*/ 7288 w 2284179"/>
                  <a:gd name="connsiteY1" fmla="*/ 735890 h 1544644"/>
                  <a:gd name="connsiteX2" fmla="*/ 678203 w 2284179"/>
                  <a:gd name="connsiteY2" fmla="*/ 348597 h 1544644"/>
                  <a:gd name="connsiteX3" fmla="*/ 1209486 w 2284179"/>
                  <a:gd name="connsiteY3" fmla="*/ 346087 h 1544644"/>
                  <a:gd name="connsiteX4" fmla="*/ 1681430 w 2284179"/>
                  <a:gd name="connsiteY4" fmla="*/ 349421 h 1544644"/>
                  <a:gd name="connsiteX5" fmla="*/ 2284179 w 2284179"/>
                  <a:gd name="connsiteY5" fmla="*/ 0 h 1544644"/>
                  <a:gd name="connsiteX0" fmla="*/ 0 w 2284179"/>
                  <a:gd name="connsiteY0" fmla="*/ 1544644 h 1544644"/>
                  <a:gd name="connsiteX1" fmla="*/ 7288 w 2284179"/>
                  <a:gd name="connsiteY1" fmla="*/ 735890 h 1544644"/>
                  <a:gd name="connsiteX2" fmla="*/ 678203 w 2284179"/>
                  <a:gd name="connsiteY2" fmla="*/ 348597 h 1544644"/>
                  <a:gd name="connsiteX3" fmla="*/ 1209486 w 2284179"/>
                  <a:gd name="connsiteY3" fmla="*/ 346087 h 1544644"/>
                  <a:gd name="connsiteX4" fmla="*/ 1690928 w 2284179"/>
                  <a:gd name="connsiteY4" fmla="*/ 347374 h 1544644"/>
                  <a:gd name="connsiteX5" fmla="*/ 2284179 w 2284179"/>
                  <a:gd name="connsiteY5" fmla="*/ 0 h 1544644"/>
                  <a:gd name="connsiteX0" fmla="*/ 0 w 2284179"/>
                  <a:gd name="connsiteY0" fmla="*/ 1544644 h 1544644"/>
                  <a:gd name="connsiteX1" fmla="*/ 7288 w 2284179"/>
                  <a:gd name="connsiteY1" fmla="*/ 735890 h 1544644"/>
                  <a:gd name="connsiteX2" fmla="*/ 678203 w 2284179"/>
                  <a:gd name="connsiteY2" fmla="*/ 348597 h 1544644"/>
                  <a:gd name="connsiteX3" fmla="*/ 1209486 w 2284179"/>
                  <a:gd name="connsiteY3" fmla="*/ 346087 h 1544644"/>
                  <a:gd name="connsiteX4" fmla="*/ 1614939 w 2284179"/>
                  <a:gd name="connsiteY4" fmla="*/ 347374 h 1544644"/>
                  <a:gd name="connsiteX5" fmla="*/ 2284179 w 2284179"/>
                  <a:gd name="connsiteY5" fmla="*/ 0 h 1544644"/>
                  <a:gd name="connsiteX0" fmla="*/ 0 w 2284179"/>
                  <a:gd name="connsiteY0" fmla="*/ 1544644 h 1544644"/>
                  <a:gd name="connsiteX1" fmla="*/ 7288 w 2284179"/>
                  <a:gd name="connsiteY1" fmla="*/ 735890 h 1544644"/>
                  <a:gd name="connsiteX2" fmla="*/ 682954 w 2284179"/>
                  <a:gd name="connsiteY2" fmla="*/ 346549 h 1544644"/>
                  <a:gd name="connsiteX3" fmla="*/ 1209486 w 2284179"/>
                  <a:gd name="connsiteY3" fmla="*/ 346087 h 1544644"/>
                  <a:gd name="connsiteX4" fmla="*/ 1614939 w 2284179"/>
                  <a:gd name="connsiteY4" fmla="*/ 347374 h 1544644"/>
                  <a:gd name="connsiteX5" fmla="*/ 2284179 w 2284179"/>
                  <a:gd name="connsiteY5" fmla="*/ 0 h 1544644"/>
                  <a:gd name="connsiteX0" fmla="*/ 0 w 2284414"/>
                  <a:gd name="connsiteY0" fmla="*/ 1544644 h 1544644"/>
                  <a:gd name="connsiteX1" fmla="*/ 7288 w 2284414"/>
                  <a:gd name="connsiteY1" fmla="*/ 735890 h 1544644"/>
                  <a:gd name="connsiteX2" fmla="*/ 682954 w 2284414"/>
                  <a:gd name="connsiteY2" fmla="*/ 346549 h 1544644"/>
                  <a:gd name="connsiteX3" fmla="*/ 1209486 w 2284414"/>
                  <a:gd name="connsiteY3" fmla="*/ 346087 h 1544644"/>
                  <a:gd name="connsiteX4" fmla="*/ 1614939 w 2284414"/>
                  <a:gd name="connsiteY4" fmla="*/ 347374 h 1544644"/>
                  <a:gd name="connsiteX5" fmla="*/ 2284179 w 2284414"/>
                  <a:gd name="connsiteY5" fmla="*/ 0 h 1544644"/>
                  <a:gd name="connsiteX0" fmla="*/ 0 w 2284416"/>
                  <a:gd name="connsiteY0" fmla="*/ 1544644 h 1544644"/>
                  <a:gd name="connsiteX1" fmla="*/ 7288 w 2284416"/>
                  <a:gd name="connsiteY1" fmla="*/ 735890 h 1544644"/>
                  <a:gd name="connsiteX2" fmla="*/ 682954 w 2284416"/>
                  <a:gd name="connsiteY2" fmla="*/ 346549 h 1544644"/>
                  <a:gd name="connsiteX3" fmla="*/ 1209486 w 2284416"/>
                  <a:gd name="connsiteY3" fmla="*/ 346087 h 1544644"/>
                  <a:gd name="connsiteX4" fmla="*/ 1614939 w 2284416"/>
                  <a:gd name="connsiteY4" fmla="*/ 347374 h 1544644"/>
                  <a:gd name="connsiteX5" fmla="*/ 2284179 w 2284416"/>
                  <a:gd name="connsiteY5" fmla="*/ 0 h 1544644"/>
                  <a:gd name="connsiteX0" fmla="*/ 0 w 2284414"/>
                  <a:gd name="connsiteY0" fmla="*/ 1544644 h 1544644"/>
                  <a:gd name="connsiteX1" fmla="*/ 7288 w 2284414"/>
                  <a:gd name="connsiteY1" fmla="*/ 735890 h 1544644"/>
                  <a:gd name="connsiteX2" fmla="*/ 682954 w 2284414"/>
                  <a:gd name="connsiteY2" fmla="*/ 346549 h 1544644"/>
                  <a:gd name="connsiteX3" fmla="*/ 1209486 w 2284414"/>
                  <a:gd name="connsiteY3" fmla="*/ 346087 h 1544644"/>
                  <a:gd name="connsiteX4" fmla="*/ 1614939 w 2284414"/>
                  <a:gd name="connsiteY4" fmla="*/ 347374 h 1544644"/>
                  <a:gd name="connsiteX5" fmla="*/ 2284179 w 2284414"/>
                  <a:gd name="connsiteY5" fmla="*/ 0 h 1544644"/>
                  <a:gd name="connsiteX0" fmla="*/ 0 w 2284416"/>
                  <a:gd name="connsiteY0" fmla="*/ 1544644 h 1544644"/>
                  <a:gd name="connsiteX1" fmla="*/ 7288 w 2284416"/>
                  <a:gd name="connsiteY1" fmla="*/ 735890 h 1544644"/>
                  <a:gd name="connsiteX2" fmla="*/ 682954 w 2284416"/>
                  <a:gd name="connsiteY2" fmla="*/ 346549 h 1544644"/>
                  <a:gd name="connsiteX3" fmla="*/ 1209486 w 2284416"/>
                  <a:gd name="connsiteY3" fmla="*/ 346087 h 1544644"/>
                  <a:gd name="connsiteX4" fmla="*/ 1614939 w 2284416"/>
                  <a:gd name="connsiteY4" fmla="*/ 347374 h 1544644"/>
                  <a:gd name="connsiteX5" fmla="*/ 2284179 w 2284416"/>
                  <a:gd name="connsiteY5" fmla="*/ 0 h 15446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84416" h="1544644">
                    <a:moveTo>
                      <a:pt x="0" y="1544644"/>
                    </a:moveTo>
                    <a:cubicBezTo>
                      <a:pt x="11644" y="894119"/>
                      <a:pt x="8502" y="964794"/>
                      <a:pt x="7288" y="735890"/>
                    </a:cubicBezTo>
                    <a:cubicBezTo>
                      <a:pt x="-8499" y="452340"/>
                      <a:pt x="341208" y="346170"/>
                      <a:pt x="682954" y="346549"/>
                    </a:cubicBezTo>
                    <a:lnTo>
                      <a:pt x="1209486" y="346087"/>
                    </a:lnTo>
                    <a:lnTo>
                      <a:pt x="1614939" y="347374"/>
                    </a:lnTo>
                    <a:cubicBezTo>
                      <a:pt x="2094410" y="347978"/>
                      <a:pt x="2292247" y="136874"/>
                      <a:pt x="2284179" y="0"/>
                    </a:cubicBezTo>
                  </a:path>
                </a:pathLst>
              </a:custGeom>
              <a:noFill/>
              <a:ln>
                <a:solidFill>
                  <a:schemeClr val="tx2"/>
                </a:solidFill>
                <a:headEnd type="oval" w="med" len="med"/>
                <a:tailEnd type="oval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cxnSp>
          <p:nvCxnSpPr>
            <p:cNvPr id="234" name="Straight Connector 159"/>
            <p:cNvCxnSpPr/>
            <p:nvPr/>
          </p:nvCxnSpPr>
          <p:spPr>
            <a:xfrm>
              <a:off x="8729106" y="2879800"/>
              <a:ext cx="0" cy="1975644"/>
            </a:xfrm>
            <a:prstGeom prst="line">
              <a:avLst/>
            </a:prstGeom>
            <a:ln w="12700">
              <a:solidFill>
                <a:schemeClr val="tx2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7" name="Group 160"/>
          <p:cNvGrpSpPr/>
          <p:nvPr/>
        </p:nvGrpSpPr>
        <p:grpSpPr>
          <a:xfrm>
            <a:off x="7957679" y="730767"/>
            <a:ext cx="4272421" cy="2854990"/>
            <a:chOff x="8223250" y="1096963"/>
            <a:chExt cx="4043363" cy="2701925"/>
          </a:xfrm>
        </p:grpSpPr>
        <p:sp>
          <p:nvSpPr>
            <p:cNvPr id="238" name="Freeform 132"/>
            <p:cNvSpPr>
              <a:spLocks noEditPoints="1"/>
            </p:cNvSpPr>
            <p:nvPr/>
          </p:nvSpPr>
          <p:spPr bwMode="auto">
            <a:xfrm>
              <a:off x="8223250" y="1096963"/>
              <a:ext cx="4043363" cy="2347912"/>
            </a:xfrm>
            <a:custGeom>
              <a:avLst/>
              <a:gdLst>
                <a:gd name="T0" fmla="*/ 4422 w 5019"/>
                <a:gd name="T1" fmla="*/ 1321 h 2913"/>
                <a:gd name="T2" fmla="*/ 2943 w 5019"/>
                <a:gd name="T3" fmla="*/ 601 h 2913"/>
                <a:gd name="T4" fmla="*/ 2941 w 5019"/>
                <a:gd name="T5" fmla="*/ 603 h 2913"/>
                <a:gd name="T6" fmla="*/ 1947 w 5019"/>
                <a:gd name="T7" fmla="*/ 30 h 2913"/>
                <a:gd name="T8" fmla="*/ 1368 w 5019"/>
                <a:gd name="T9" fmla="*/ 48 h 2913"/>
                <a:gd name="T10" fmla="*/ 306 w 5019"/>
                <a:gd name="T11" fmla="*/ 303 h 2913"/>
                <a:gd name="T12" fmla="*/ 136 w 5019"/>
                <a:gd name="T13" fmla="*/ 357 h 2913"/>
                <a:gd name="T14" fmla="*/ 72 w 5019"/>
                <a:gd name="T15" fmla="*/ 822 h 2913"/>
                <a:gd name="T16" fmla="*/ 50 w 5019"/>
                <a:gd name="T17" fmla="*/ 1489 h 2913"/>
                <a:gd name="T18" fmla="*/ 143 w 5019"/>
                <a:gd name="T19" fmla="*/ 1526 h 2913"/>
                <a:gd name="T20" fmla="*/ 376 w 5019"/>
                <a:gd name="T21" fmla="*/ 2031 h 2913"/>
                <a:gd name="T22" fmla="*/ 545 w 5019"/>
                <a:gd name="T23" fmla="*/ 2293 h 2913"/>
                <a:gd name="T24" fmla="*/ 582 w 5019"/>
                <a:gd name="T25" fmla="*/ 2250 h 2913"/>
                <a:gd name="T26" fmla="*/ 607 w 5019"/>
                <a:gd name="T27" fmla="*/ 2219 h 2913"/>
                <a:gd name="T28" fmla="*/ 624 w 5019"/>
                <a:gd name="T29" fmla="*/ 2153 h 2913"/>
                <a:gd name="T30" fmla="*/ 715 w 5019"/>
                <a:gd name="T31" fmla="*/ 2232 h 2913"/>
                <a:gd name="T32" fmla="*/ 764 w 5019"/>
                <a:gd name="T33" fmla="*/ 2236 h 2913"/>
                <a:gd name="T34" fmla="*/ 804 w 5019"/>
                <a:gd name="T35" fmla="*/ 2191 h 2913"/>
                <a:gd name="T36" fmla="*/ 910 w 5019"/>
                <a:gd name="T37" fmla="*/ 2013 h 2913"/>
                <a:gd name="T38" fmla="*/ 1401 w 5019"/>
                <a:gd name="T39" fmla="*/ 1266 h 2913"/>
                <a:gd name="T40" fmla="*/ 1794 w 5019"/>
                <a:gd name="T41" fmla="*/ 845 h 2913"/>
                <a:gd name="T42" fmla="*/ 2127 w 5019"/>
                <a:gd name="T43" fmla="*/ 1145 h 2913"/>
                <a:gd name="T44" fmla="*/ 2126 w 5019"/>
                <a:gd name="T45" fmla="*/ 1145 h 2913"/>
                <a:gd name="T46" fmla="*/ 2140 w 5019"/>
                <a:gd name="T47" fmla="*/ 1158 h 2913"/>
                <a:gd name="T48" fmla="*/ 2150 w 5019"/>
                <a:gd name="T49" fmla="*/ 1168 h 2913"/>
                <a:gd name="T50" fmla="*/ 2151 w 5019"/>
                <a:gd name="T51" fmla="*/ 1168 h 2913"/>
                <a:gd name="T52" fmla="*/ 4422 w 5019"/>
                <a:gd name="T53" fmla="*/ 2782 h 2913"/>
                <a:gd name="T54" fmla="*/ 4422 w 5019"/>
                <a:gd name="T55" fmla="*/ 1321 h 2913"/>
                <a:gd name="T56" fmla="*/ 591 w 5019"/>
                <a:gd name="T57" fmla="*/ 1019 h 2913"/>
                <a:gd name="T58" fmla="*/ 720 w 5019"/>
                <a:gd name="T59" fmla="*/ 903 h 2913"/>
                <a:gd name="T60" fmla="*/ 734 w 5019"/>
                <a:gd name="T61" fmla="*/ 948 h 2913"/>
                <a:gd name="T62" fmla="*/ 673 w 5019"/>
                <a:gd name="T63" fmla="*/ 1029 h 2913"/>
                <a:gd name="T64" fmla="*/ 591 w 5019"/>
                <a:gd name="T65" fmla="*/ 1019 h 2913"/>
                <a:gd name="T66" fmla="*/ 837 w 5019"/>
                <a:gd name="T67" fmla="*/ 1403 h 2913"/>
                <a:gd name="T68" fmla="*/ 602 w 5019"/>
                <a:gd name="T69" fmla="*/ 1924 h 2913"/>
                <a:gd name="T70" fmla="*/ 512 w 5019"/>
                <a:gd name="T71" fmla="*/ 1747 h 2913"/>
                <a:gd name="T72" fmla="*/ 486 w 5019"/>
                <a:gd name="T73" fmla="*/ 1526 h 2913"/>
                <a:gd name="T74" fmla="*/ 837 w 5019"/>
                <a:gd name="T75" fmla="*/ 1403 h 2913"/>
                <a:gd name="T76" fmla="*/ 843 w 5019"/>
                <a:gd name="T77" fmla="*/ 1395 h 2913"/>
                <a:gd name="T78" fmla="*/ 837 w 5019"/>
                <a:gd name="T79" fmla="*/ 1403 h 29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019" h="2913">
                  <a:moveTo>
                    <a:pt x="4422" y="1321"/>
                  </a:moveTo>
                  <a:cubicBezTo>
                    <a:pt x="3824" y="1120"/>
                    <a:pt x="2943" y="601"/>
                    <a:pt x="2943" y="601"/>
                  </a:cubicBezTo>
                  <a:cubicBezTo>
                    <a:pt x="2941" y="603"/>
                    <a:pt x="2941" y="603"/>
                    <a:pt x="2941" y="603"/>
                  </a:cubicBezTo>
                  <a:cubicBezTo>
                    <a:pt x="2816" y="505"/>
                    <a:pt x="2288" y="103"/>
                    <a:pt x="1947" y="30"/>
                  </a:cubicBezTo>
                  <a:cubicBezTo>
                    <a:pt x="1806" y="0"/>
                    <a:pt x="1511" y="24"/>
                    <a:pt x="1368" y="48"/>
                  </a:cubicBezTo>
                  <a:cubicBezTo>
                    <a:pt x="1098" y="93"/>
                    <a:pt x="575" y="259"/>
                    <a:pt x="306" y="303"/>
                  </a:cubicBezTo>
                  <a:cubicBezTo>
                    <a:pt x="267" y="310"/>
                    <a:pt x="168" y="334"/>
                    <a:pt x="136" y="357"/>
                  </a:cubicBezTo>
                  <a:cubicBezTo>
                    <a:pt x="46" y="422"/>
                    <a:pt x="97" y="684"/>
                    <a:pt x="72" y="822"/>
                  </a:cubicBezTo>
                  <a:cubicBezTo>
                    <a:pt x="45" y="973"/>
                    <a:pt x="0" y="1424"/>
                    <a:pt x="50" y="1489"/>
                  </a:cubicBezTo>
                  <a:cubicBezTo>
                    <a:pt x="69" y="1514"/>
                    <a:pt x="135" y="1502"/>
                    <a:pt x="143" y="1526"/>
                  </a:cubicBezTo>
                  <a:cubicBezTo>
                    <a:pt x="245" y="1835"/>
                    <a:pt x="301" y="1913"/>
                    <a:pt x="376" y="2031"/>
                  </a:cubicBezTo>
                  <a:cubicBezTo>
                    <a:pt x="417" y="2095"/>
                    <a:pt x="392" y="2173"/>
                    <a:pt x="545" y="2293"/>
                  </a:cubicBezTo>
                  <a:cubicBezTo>
                    <a:pt x="549" y="2297"/>
                    <a:pt x="573" y="2294"/>
                    <a:pt x="582" y="2250"/>
                  </a:cubicBezTo>
                  <a:cubicBezTo>
                    <a:pt x="586" y="2229"/>
                    <a:pt x="605" y="2223"/>
                    <a:pt x="607" y="2219"/>
                  </a:cubicBezTo>
                  <a:cubicBezTo>
                    <a:pt x="619" y="2194"/>
                    <a:pt x="624" y="2153"/>
                    <a:pt x="624" y="2153"/>
                  </a:cubicBezTo>
                  <a:cubicBezTo>
                    <a:pt x="624" y="2153"/>
                    <a:pt x="685" y="2218"/>
                    <a:pt x="715" y="2232"/>
                  </a:cubicBezTo>
                  <a:cubicBezTo>
                    <a:pt x="723" y="2235"/>
                    <a:pt x="753" y="2241"/>
                    <a:pt x="764" y="2236"/>
                  </a:cubicBezTo>
                  <a:cubicBezTo>
                    <a:pt x="778" y="2230"/>
                    <a:pt x="794" y="2202"/>
                    <a:pt x="804" y="2191"/>
                  </a:cubicBezTo>
                  <a:cubicBezTo>
                    <a:pt x="843" y="2153"/>
                    <a:pt x="879" y="2055"/>
                    <a:pt x="910" y="2013"/>
                  </a:cubicBezTo>
                  <a:cubicBezTo>
                    <a:pt x="1035" y="1839"/>
                    <a:pt x="1340" y="1309"/>
                    <a:pt x="1401" y="1266"/>
                  </a:cubicBezTo>
                  <a:cubicBezTo>
                    <a:pt x="1578" y="1143"/>
                    <a:pt x="1744" y="887"/>
                    <a:pt x="1794" y="845"/>
                  </a:cubicBezTo>
                  <a:cubicBezTo>
                    <a:pt x="1810" y="832"/>
                    <a:pt x="2051" y="1069"/>
                    <a:pt x="2127" y="1145"/>
                  </a:cubicBezTo>
                  <a:cubicBezTo>
                    <a:pt x="2126" y="1145"/>
                    <a:pt x="2126" y="1145"/>
                    <a:pt x="2126" y="1145"/>
                  </a:cubicBezTo>
                  <a:cubicBezTo>
                    <a:pt x="2131" y="1149"/>
                    <a:pt x="2135" y="1153"/>
                    <a:pt x="2140" y="1158"/>
                  </a:cubicBezTo>
                  <a:cubicBezTo>
                    <a:pt x="2146" y="1164"/>
                    <a:pt x="2150" y="1168"/>
                    <a:pt x="2150" y="1168"/>
                  </a:cubicBezTo>
                  <a:cubicBezTo>
                    <a:pt x="2151" y="1168"/>
                    <a:pt x="2151" y="1168"/>
                    <a:pt x="2151" y="1168"/>
                  </a:cubicBezTo>
                  <a:cubicBezTo>
                    <a:pt x="4029" y="2913"/>
                    <a:pt x="4422" y="2782"/>
                    <a:pt x="4422" y="2782"/>
                  </a:cubicBezTo>
                  <a:cubicBezTo>
                    <a:pt x="4422" y="2782"/>
                    <a:pt x="5019" y="1521"/>
                    <a:pt x="4422" y="1321"/>
                  </a:cubicBezTo>
                  <a:moveTo>
                    <a:pt x="591" y="1019"/>
                  </a:moveTo>
                  <a:cubicBezTo>
                    <a:pt x="612" y="997"/>
                    <a:pt x="693" y="906"/>
                    <a:pt x="720" y="903"/>
                  </a:cubicBezTo>
                  <a:cubicBezTo>
                    <a:pt x="735" y="902"/>
                    <a:pt x="739" y="933"/>
                    <a:pt x="734" y="948"/>
                  </a:cubicBezTo>
                  <a:cubicBezTo>
                    <a:pt x="722" y="988"/>
                    <a:pt x="705" y="1013"/>
                    <a:pt x="673" y="1029"/>
                  </a:cubicBezTo>
                  <a:cubicBezTo>
                    <a:pt x="645" y="1043"/>
                    <a:pt x="578" y="1034"/>
                    <a:pt x="591" y="1019"/>
                  </a:cubicBezTo>
                  <a:moveTo>
                    <a:pt x="837" y="1403"/>
                  </a:moveTo>
                  <a:cubicBezTo>
                    <a:pt x="616" y="1676"/>
                    <a:pt x="612" y="1942"/>
                    <a:pt x="602" y="1924"/>
                  </a:cubicBezTo>
                  <a:cubicBezTo>
                    <a:pt x="503" y="1753"/>
                    <a:pt x="509" y="1783"/>
                    <a:pt x="512" y="1747"/>
                  </a:cubicBezTo>
                  <a:cubicBezTo>
                    <a:pt x="522" y="1651"/>
                    <a:pt x="474" y="1527"/>
                    <a:pt x="486" y="1526"/>
                  </a:cubicBezTo>
                  <a:cubicBezTo>
                    <a:pt x="732" y="1504"/>
                    <a:pt x="816" y="1427"/>
                    <a:pt x="837" y="1403"/>
                  </a:cubicBezTo>
                  <a:cubicBezTo>
                    <a:pt x="839" y="1400"/>
                    <a:pt x="841" y="1398"/>
                    <a:pt x="843" y="1395"/>
                  </a:cubicBezTo>
                  <a:cubicBezTo>
                    <a:pt x="843" y="1395"/>
                    <a:pt x="841" y="1398"/>
                    <a:pt x="837" y="1403"/>
                  </a:cubicBezTo>
                </a:path>
              </a:pathLst>
            </a:custGeom>
            <a:solidFill>
              <a:srgbClr val="F0D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Freeform 133"/>
            <p:cNvSpPr>
              <a:spLocks/>
            </p:cNvSpPr>
            <p:nvPr/>
          </p:nvSpPr>
          <p:spPr bwMode="auto">
            <a:xfrm>
              <a:off x="8897938" y="2220913"/>
              <a:ext cx="4763" cy="6350"/>
            </a:xfrm>
            <a:custGeom>
              <a:avLst/>
              <a:gdLst>
                <a:gd name="T0" fmla="*/ 0 w 6"/>
                <a:gd name="T1" fmla="*/ 8 h 8"/>
                <a:gd name="T2" fmla="*/ 6 w 6"/>
                <a:gd name="T3" fmla="*/ 0 h 8"/>
                <a:gd name="T4" fmla="*/ 0 w 6"/>
                <a:gd name="T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8">
                  <a:moveTo>
                    <a:pt x="0" y="8"/>
                  </a:moveTo>
                  <a:cubicBezTo>
                    <a:pt x="4" y="3"/>
                    <a:pt x="6" y="0"/>
                    <a:pt x="6" y="0"/>
                  </a:cubicBezTo>
                  <a:cubicBezTo>
                    <a:pt x="4" y="3"/>
                    <a:pt x="2" y="5"/>
                    <a:pt x="0" y="8"/>
                  </a:cubicBezTo>
                  <a:close/>
                </a:path>
              </a:pathLst>
            </a:custGeom>
            <a:solidFill>
              <a:srgbClr val="F0D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0" name="Freeform 134"/>
            <p:cNvSpPr>
              <a:spLocks/>
            </p:cNvSpPr>
            <p:nvPr/>
          </p:nvSpPr>
          <p:spPr bwMode="auto">
            <a:xfrm>
              <a:off x="8918575" y="2719388"/>
              <a:ext cx="38100" cy="66675"/>
            </a:xfrm>
            <a:custGeom>
              <a:avLst/>
              <a:gdLst>
                <a:gd name="T0" fmla="*/ 46 w 46"/>
                <a:gd name="T1" fmla="*/ 0 h 83"/>
                <a:gd name="T2" fmla="*/ 46 w 46"/>
                <a:gd name="T3" fmla="*/ 1 h 83"/>
                <a:gd name="T4" fmla="*/ 0 w 46"/>
                <a:gd name="T5" fmla="*/ 83 h 83"/>
                <a:gd name="T6" fmla="*/ 46 w 46"/>
                <a:gd name="T7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6" h="83">
                  <a:moveTo>
                    <a:pt x="46" y="0"/>
                  </a:moveTo>
                  <a:cubicBezTo>
                    <a:pt x="46" y="0"/>
                    <a:pt x="46" y="1"/>
                    <a:pt x="46" y="1"/>
                  </a:cubicBezTo>
                  <a:cubicBezTo>
                    <a:pt x="32" y="20"/>
                    <a:pt x="16" y="51"/>
                    <a:pt x="0" y="83"/>
                  </a:cubicBezTo>
                  <a:cubicBezTo>
                    <a:pt x="14" y="59"/>
                    <a:pt x="33" y="24"/>
                    <a:pt x="4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1" name="Freeform 135"/>
            <p:cNvSpPr>
              <a:spLocks noEditPoints="1"/>
            </p:cNvSpPr>
            <p:nvPr/>
          </p:nvSpPr>
          <p:spPr bwMode="auto">
            <a:xfrm>
              <a:off x="8761413" y="2592388"/>
              <a:ext cx="207963" cy="280987"/>
            </a:xfrm>
            <a:custGeom>
              <a:avLst/>
              <a:gdLst>
                <a:gd name="T0" fmla="*/ 101 w 258"/>
                <a:gd name="T1" fmla="*/ 348 h 348"/>
                <a:gd name="T2" fmla="*/ 101 w 258"/>
                <a:gd name="T3" fmla="*/ 348 h 348"/>
                <a:gd name="T4" fmla="*/ 101 w 258"/>
                <a:gd name="T5" fmla="*/ 348 h 348"/>
                <a:gd name="T6" fmla="*/ 101 w 258"/>
                <a:gd name="T7" fmla="*/ 348 h 348"/>
                <a:gd name="T8" fmla="*/ 129 w 258"/>
                <a:gd name="T9" fmla="*/ 0 h 348"/>
                <a:gd name="T10" fmla="*/ 108 w 258"/>
                <a:gd name="T11" fmla="*/ 4 h 348"/>
                <a:gd name="T12" fmla="*/ 6 w 258"/>
                <a:gd name="T13" fmla="*/ 160 h 348"/>
                <a:gd name="T14" fmla="*/ 0 w 258"/>
                <a:gd name="T15" fmla="*/ 234 h 348"/>
                <a:gd name="T16" fmla="*/ 1 w 258"/>
                <a:gd name="T17" fmla="*/ 199 h 348"/>
                <a:gd name="T18" fmla="*/ 45 w 258"/>
                <a:gd name="T19" fmla="*/ 254 h 348"/>
                <a:gd name="T20" fmla="*/ 90 w 258"/>
                <a:gd name="T21" fmla="*/ 168 h 348"/>
                <a:gd name="T22" fmla="*/ 167 w 258"/>
                <a:gd name="T23" fmla="*/ 59 h 348"/>
                <a:gd name="T24" fmla="*/ 168 w 258"/>
                <a:gd name="T25" fmla="*/ 59 h 348"/>
                <a:gd name="T26" fmla="*/ 113 w 258"/>
                <a:gd name="T27" fmla="*/ 181 h 348"/>
                <a:gd name="T28" fmla="*/ 58 w 258"/>
                <a:gd name="T29" fmla="*/ 267 h 348"/>
                <a:gd name="T30" fmla="*/ 152 w 258"/>
                <a:gd name="T31" fmla="*/ 314 h 348"/>
                <a:gd name="T32" fmla="*/ 106 w 258"/>
                <a:gd name="T33" fmla="*/ 348 h 348"/>
                <a:gd name="T34" fmla="*/ 106 w 258"/>
                <a:gd name="T35" fmla="*/ 348 h 348"/>
                <a:gd name="T36" fmla="*/ 106 w 258"/>
                <a:gd name="T37" fmla="*/ 348 h 348"/>
                <a:gd name="T38" fmla="*/ 187 w 258"/>
                <a:gd name="T39" fmla="*/ 257 h 348"/>
                <a:gd name="T40" fmla="*/ 196 w 258"/>
                <a:gd name="T41" fmla="*/ 240 h 348"/>
                <a:gd name="T42" fmla="*/ 242 w 258"/>
                <a:gd name="T43" fmla="*/ 158 h 348"/>
                <a:gd name="T44" fmla="*/ 242 w 258"/>
                <a:gd name="T45" fmla="*/ 157 h 348"/>
                <a:gd name="T46" fmla="*/ 258 w 258"/>
                <a:gd name="T47" fmla="*/ 128 h 348"/>
                <a:gd name="T48" fmla="*/ 209 w 258"/>
                <a:gd name="T49" fmla="*/ 38 h 348"/>
                <a:gd name="T50" fmla="*/ 129 w 258"/>
                <a:gd name="T51" fmla="*/ 0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58" h="348">
                  <a:moveTo>
                    <a:pt x="101" y="348"/>
                  </a:moveTo>
                  <a:cubicBezTo>
                    <a:pt x="101" y="348"/>
                    <a:pt x="101" y="348"/>
                    <a:pt x="101" y="348"/>
                  </a:cubicBezTo>
                  <a:cubicBezTo>
                    <a:pt x="101" y="348"/>
                    <a:pt x="101" y="348"/>
                    <a:pt x="101" y="348"/>
                  </a:cubicBezTo>
                  <a:cubicBezTo>
                    <a:pt x="101" y="348"/>
                    <a:pt x="101" y="348"/>
                    <a:pt x="101" y="348"/>
                  </a:cubicBezTo>
                  <a:moveTo>
                    <a:pt x="129" y="0"/>
                  </a:moveTo>
                  <a:cubicBezTo>
                    <a:pt x="121" y="0"/>
                    <a:pt x="114" y="2"/>
                    <a:pt x="108" y="4"/>
                  </a:cubicBezTo>
                  <a:cubicBezTo>
                    <a:pt x="65" y="22"/>
                    <a:pt x="18" y="115"/>
                    <a:pt x="6" y="160"/>
                  </a:cubicBezTo>
                  <a:cubicBezTo>
                    <a:pt x="2" y="175"/>
                    <a:pt x="0" y="206"/>
                    <a:pt x="0" y="234"/>
                  </a:cubicBezTo>
                  <a:cubicBezTo>
                    <a:pt x="0" y="222"/>
                    <a:pt x="0" y="210"/>
                    <a:pt x="1" y="199"/>
                  </a:cubicBezTo>
                  <a:cubicBezTo>
                    <a:pt x="10" y="213"/>
                    <a:pt x="26" y="234"/>
                    <a:pt x="45" y="254"/>
                  </a:cubicBezTo>
                  <a:cubicBezTo>
                    <a:pt x="55" y="232"/>
                    <a:pt x="71" y="201"/>
                    <a:pt x="90" y="168"/>
                  </a:cubicBezTo>
                  <a:cubicBezTo>
                    <a:pt x="126" y="106"/>
                    <a:pt x="159" y="59"/>
                    <a:pt x="167" y="59"/>
                  </a:cubicBezTo>
                  <a:cubicBezTo>
                    <a:pt x="168" y="59"/>
                    <a:pt x="168" y="59"/>
                    <a:pt x="168" y="59"/>
                  </a:cubicBezTo>
                  <a:cubicBezTo>
                    <a:pt x="175" y="63"/>
                    <a:pt x="150" y="117"/>
                    <a:pt x="113" y="181"/>
                  </a:cubicBezTo>
                  <a:cubicBezTo>
                    <a:pt x="93" y="217"/>
                    <a:pt x="73" y="247"/>
                    <a:pt x="58" y="267"/>
                  </a:cubicBezTo>
                  <a:cubicBezTo>
                    <a:pt x="85" y="292"/>
                    <a:pt x="117" y="313"/>
                    <a:pt x="152" y="314"/>
                  </a:cubicBezTo>
                  <a:cubicBezTo>
                    <a:pt x="138" y="331"/>
                    <a:pt x="122" y="346"/>
                    <a:pt x="106" y="348"/>
                  </a:cubicBezTo>
                  <a:cubicBezTo>
                    <a:pt x="106" y="348"/>
                    <a:pt x="106" y="348"/>
                    <a:pt x="106" y="348"/>
                  </a:cubicBezTo>
                  <a:cubicBezTo>
                    <a:pt x="106" y="348"/>
                    <a:pt x="106" y="348"/>
                    <a:pt x="106" y="348"/>
                  </a:cubicBezTo>
                  <a:cubicBezTo>
                    <a:pt x="140" y="344"/>
                    <a:pt x="172" y="284"/>
                    <a:pt x="187" y="257"/>
                  </a:cubicBezTo>
                  <a:cubicBezTo>
                    <a:pt x="189" y="253"/>
                    <a:pt x="193" y="247"/>
                    <a:pt x="196" y="240"/>
                  </a:cubicBezTo>
                  <a:cubicBezTo>
                    <a:pt x="212" y="208"/>
                    <a:pt x="228" y="177"/>
                    <a:pt x="242" y="158"/>
                  </a:cubicBezTo>
                  <a:cubicBezTo>
                    <a:pt x="242" y="158"/>
                    <a:pt x="242" y="157"/>
                    <a:pt x="242" y="157"/>
                  </a:cubicBezTo>
                  <a:cubicBezTo>
                    <a:pt x="252" y="140"/>
                    <a:pt x="258" y="128"/>
                    <a:pt x="258" y="128"/>
                  </a:cubicBezTo>
                  <a:cubicBezTo>
                    <a:pt x="258" y="128"/>
                    <a:pt x="256" y="81"/>
                    <a:pt x="209" y="38"/>
                  </a:cubicBezTo>
                  <a:cubicBezTo>
                    <a:pt x="180" y="11"/>
                    <a:pt x="151" y="0"/>
                    <a:pt x="129" y="0"/>
                  </a:cubicBezTo>
                </a:path>
              </a:pathLst>
            </a:custGeom>
            <a:solidFill>
              <a:srgbClr val="F5DE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2" name="Freeform 136"/>
            <p:cNvSpPr>
              <a:spLocks noEditPoints="1"/>
            </p:cNvSpPr>
            <p:nvPr/>
          </p:nvSpPr>
          <p:spPr bwMode="auto">
            <a:xfrm>
              <a:off x="8761413" y="2781300"/>
              <a:ext cx="85725" cy="92075"/>
            </a:xfrm>
            <a:custGeom>
              <a:avLst/>
              <a:gdLst>
                <a:gd name="T0" fmla="*/ 106 w 106"/>
                <a:gd name="T1" fmla="*/ 114 h 114"/>
                <a:gd name="T2" fmla="*/ 101 w 106"/>
                <a:gd name="T3" fmla="*/ 114 h 114"/>
                <a:gd name="T4" fmla="*/ 106 w 106"/>
                <a:gd name="T5" fmla="*/ 114 h 114"/>
                <a:gd name="T6" fmla="*/ 6 w 106"/>
                <a:gd name="T7" fmla="*/ 46 h 114"/>
                <a:gd name="T8" fmla="*/ 101 w 106"/>
                <a:gd name="T9" fmla="*/ 114 h 114"/>
                <a:gd name="T10" fmla="*/ 101 w 106"/>
                <a:gd name="T11" fmla="*/ 114 h 114"/>
                <a:gd name="T12" fmla="*/ 6 w 106"/>
                <a:gd name="T13" fmla="*/ 46 h 114"/>
                <a:gd name="T14" fmla="*/ 0 w 106"/>
                <a:gd name="T15" fmla="*/ 0 h 114"/>
                <a:gd name="T16" fmla="*/ 6 w 106"/>
                <a:gd name="T17" fmla="*/ 46 h 114"/>
                <a:gd name="T18" fmla="*/ 0 w 106"/>
                <a:gd name="T19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6" h="114">
                  <a:moveTo>
                    <a:pt x="106" y="114"/>
                  </a:moveTo>
                  <a:cubicBezTo>
                    <a:pt x="105" y="114"/>
                    <a:pt x="103" y="114"/>
                    <a:pt x="101" y="114"/>
                  </a:cubicBezTo>
                  <a:cubicBezTo>
                    <a:pt x="103" y="114"/>
                    <a:pt x="105" y="114"/>
                    <a:pt x="106" y="114"/>
                  </a:cubicBezTo>
                  <a:moveTo>
                    <a:pt x="6" y="46"/>
                  </a:moveTo>
                  <a:cubicBezTo>
                    <a:pt x="19" y="77"/>
                    <a:pt x="67" y="114"/>
                    <a:pt x="101" y="114"/>
                  </a:cubicBezTo>
                  <a:cubicBezTo>
                    <a:pt x="101" y="114"/>
                    <a:pt x="101" y="114"/>
                    <a:pt x="101" y="114"/>
                  </a:cubicBezTo>
                  <a:cubicBezTo>
                    <a:pt x="67" y="114"/>
                    <a:pt x="19" y="77"/>
                    <a:pt x="6" y="46"/>
                  </a:cubicBezTo>
                  <a:moveTo>
                    <a:pt x="0" y="0"/>
                  </a:moveTo>
                  <a:cubicBezTo>
                    <a:pt x="0" y="19"/>
                    <a:pt x="2" y="36"/>
                    <a:pt x="6" y="46"/>
                  </a:cubicBezTo>
                  <a:cubicBezTo>
                    <a:pt x="2" y="36"/>
                    <a:pt x="0" y="19"/>
                    <a:pt x="0" y="0"/>
                  </a:cubicBezTo>
                </a:path>
              </a:pathLst>
            </a:custGeom>
            <a:solidFill>
              <a:srgbClr val="F4DC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3" name="Freeform 137"/>
            <p:cNvSpPr>
              <a:spLocks/>
            </p:cNvSpPr>
            <p:nvPr/>
          </p:nvSpPr>
          <p:spPr bwMode="auto">
            <a:xfrm>
              <a:off x="8761413" y="2752725"/>
              <a:ext cx="122238" cy="120650"/>
            </a:xfrm>
            <a:custGeom>
              <a:avLst/>
              <a:gdLst>
                <a:gd name="T0" fmla="*/ 1 w 152"/>
                <a:gd name="T1" fmla="*/ 0 h 149"/>
                <a:gd name="T2" fmla="*/ 0 w 152"/>
                <a:gd name="T3" fmla="*/ 35 h 149"/>
                <a:gd name="T4" fmla="*/ 6 w 152"/>
                <a:gd name="T5" fmla="*/ 81 h 149"/>
                <a:gd name="T6" fmla="*/ 6 w 152"/>
                <a:gd name="T7" fmla="*/ 81 h 149"/>
                <a:gd name="T8" fmla="*/ 6 w 152"/>
                <a:gd name="T9" fmla="*/ 81 h 149"/>
                <a:gd name="T10" fmla="*/ 101 w 152"/>
                <a:gd name="T11" fmla="*/ 149 h 149"/>
                <a:gd name="T12" fmla="*/ 101 w 152"/>
                <a:gd name="T13" fmla="*/ 149 h 149"/>
                <a:gd name="T14" fmla="*/ 106 w 152"/>
                <a:gd name="T15" fmla="*/ 149 h 149"/>
                <a:gd name="T16" fmla="*/ 106 w 152"/>
                <a:gd name="T17" fmla="*/ 149 h 149"/>
                <a:gd name="T18" fmla="*/ 152 w 152"/>
                <a:gd name="T19" fmla="*/ 115 h 149"/>
                <a:gd name="T20" fmla="*/ 58 w 152"/>
                <a:gd name="T21" fmla="*/ 68 h 149"/>
                <a:gd name="T22" fmla="*/ 36 w 152"/>
                <a:gd name="T23" fmla="*/ 91 h 149"/>
                <a:gd name="T24" fmla="*/ 35 w 152"/>
                <a:gd name="T25" fmla="*/ 90 h 149"/>
                <a:gd name="T26" fmla="*/ 45 w 152"/>
                <a:gd name="T27" fmla="*/ 55 h 149"/>
                <a:gd name="T28" fmla="*/ 1 w 152"/>
                <a:gd name="T2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2" h="149">
                  <a:moveTo>
                    <a:pt x="1" y="0"/>
                  </a:moveTo>
                  <a:cubicBezTo>
                    <a:pt x="0" y="11"/>
                    <a:pt x="0" y="23"/>
                    <a:pt x="0" y="35"/>
                  </a:cubicBezTo>
                  <a:cubicBezTo>
                    <a:pt x="0" y="54"/>
                    <a:pt x="2" y="71"/>
                    <a:pt x="6" y="81"/>
                  </a:cubicBezTo>
                  <a:cubicBezTo>
                    <a:pt x="6" y="81"/>
                    <a:pt x="6" y="81"/>
                    <a:pt x="6" y="81"/>
                  </a:cubicBezTo>
                  <a:cubicBezTo>
                    <a:pt x="6" y="81"/>
                    <a:pt x="6" y="81"/>
                    <a:pt x="6" y="81"/>
                  </a:cubicBezTo>
                  <a:cubicBezTo>
                    <a:pt x="19" y="112"/>
                    <a:pt x="67" y="149"/>
                    <a:pt x="101" y="149"/>
                  </a:cubicBezTo>
                  <a:cubicBezTo>
                    <a:pt x="101" y="149"/>
                    <a:pt x="101" y="149"/>
                    <a:pt x="101" y="149"/>
                  </a:cubicBezTo>
                  <a:cubicBezTo>
                    <a:pt x="103" y="149"/>
                    <a:pt x="105" y="149"/>
                    <a:pt x="106" y="149"/>
                  </a:cubicBezTo>
                  <a:cubicBezTo>
                    <a:pt x="106" y="149"/>
                    <a:pt x="106" y="149"/>
                    <a:pt x="106" y="149"/>
                  </a:cubicBezTo>
                  <a:cubicBezTo>
                    <a:pt x="122" y="147"/>
                    <a:pt x="138" y="132"/>
                    <a:pt x="152" y="115"/>
                  </a:cubicBezTo>
                  <a:cubicBezTo>
                    <a:pt x="117" y="114"/>
                    <a:pt x="85" y="93"/>
                    <a:pt x="58" y="68"/>
                  </a:cubicBezTo>
                  <a:cubicBezTo>
                    <a:pt x="48" y="82"/>
                    <a:pt x="40" y="91"/>
                    <a:pt x="36" y="91"/>
                  </a:cubicBezTo>
                  <a:cubicBezTo>
                    <a:pt x="36" y="91"/>
                    <a:pt x="36" y="90"/>
                    <a:pt x="35" y="90"/>
                  </a:cubicBezTo>
                  <a:cubicBezTo>
                    <a:pt x="32" y="89"/>
                    <a:pt x="36" y="75"/>
                    <a:pt x="45" y="55"/>
                  </a:cubicBezTo>
                  <a:cubicBezTo>
                    <a:pt x="26" y="35"/>
                    <a:pt x="10" y="14"/>
                    <a:pt x="1" y="0"/>
                  </a:cubicBezTo>
                </a:path>
              </a:pathLst>
            </a:custGeom>
            <a:solidFill>
              <a:srgbClr val="F7E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4" name="Freeform 138"/>
            <p:cNvSpPr>
              <a:spLocks/>
            </p:cNvSpPr>
            <p:nvPr/>
          </p:nvSpPr>
          <p:spPr bwMode="auto">
            <a:xfrm>
              <a:off x="8535988" y="2754313"/>
              <a:ext cx="155575" cy="190500"/>
            </a:xfrm>
            <a:custGeom>
              <a:avLst/>
              <a:gdLst>
                <a:gd name="T0" fmla="*/ 0 w 193"/>
                <a:gd name="T1" fmla="*/ 0 h 237"/>
                <a:gd name="T2" fmla="*/ 155 w 193"/>
                <a:gd name="T3" fmla="*/ 237 h 237"/>
                <a:gd name="T4" fmla="*/ 131 w 193"/>
                <a:gd name="T5" fmla="*/ 216 h 237"/>
                <a:gd name="T6" fmla="*/ 138 w 193"/>
                <a:gd name="T7" fmla="*/ 217 h 237"/>
                <a:gd name="T8" fmla="*/ 174 w 193"/>
                <a:gd name="T9" fmla="*/ 166 h 237"/>
                <a:gd name="T10" fmla="*/ 193 w 193"/>
                <a:gd name="T11" fmla="*/ 188 h 237"/>
                <a:gd name="T12" fmla="*/ 0 w 193"/>
                <a:gd name="T13" fmla="*/ 0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3" h="237">
                  <a:moveTo>
                    <a:pt x="0" y="0"/>
                  </a:moveTo>
                  <a:cubicBezTo>
                    <a:pt x="25" y="59"/>
                    <a:pt x="23" y="132"/>
                    <a:pt x="155" y="237"/>
                  </a:cubicBezTo>
                  <a:cubicBezTo>
                    <a:pt x="146" y="230"/>
                    <a:pt x="139" y="223"/>
                    <a:pt x="131" y="216"/>
                  </a:cubicBezTo>
                  <a:cubicBezTo>
                    <a:pt x="134" y="217"/>
                    <a:pt x="136" y="217"/>
                    <a:pt x="138" y="217"/>
                  </a:cubicBezTo>
                  <a:cubicBezTo>
                    <a:pt x="161" y="217"/>
                    <a:pt x="171" y="184"/>
                    <a:pt x="174" y="166"/>
                  </a:cubicBezTo>
                  <a:cubicBezTo>
                    <a:pt x="182" y="174"/>
                    <a:pt x="188" y="182"/>
                    <a:pt x="193" y="188"/>
                  </a:cubicBezTo>
                  <a:cubicBezTo>
                    <a:pt x="166" y="156"/>
                    <a:pt x="97" y="80"/>
                    <a:pt x="0" y="0"/>
                  </a:cubicBezTo>
                </a:path>
              </a:pathLst>
            </a:custGeom>
            <a:solidFill>
              <a:srgbClr val="F5DE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5" name="Freeform 139"/>
            <p:cNvSpPr>
              <a:spLocks/>
            </p:cNvSpPr>
            <p:nvPr/>
          </p:nvSpPr>
          <p:spPr bwMode="auto">
            <a:xfrm>
              <a:off x="8693150" y="2906713"/>
              <a:ext cx="0" cy="0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  <a:gd name="T4" fmla="*/ 1 w 1"/>
                <a:gd name="T5" fmla="*/ 1 h 1"/>
                <a:gd name="T6" fmla="*/ 1 w 1"/>
                <a:gd name="T7" fmla="*/ 1 h 1"/>
                <a:gd name="T8" fmla="*/ 0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6" name="Freeform 140"/>
            <p:cNvSpPr>
              <a:spLocks noEditPoints="1"/>
            </p:cNvSpPr>
            <p:nvPr/>
          </p:nvSpPr>
          <p:spPr bwMode="auto">
            <a:xfrm>
              <a:off x="8661400" y="2905125"/>
              <a:ext cx="31750" cy="39687"/>
            </a:xfrm>
            <a:custGeom>
              <a:avLst/>
              <a:gdLst>
                <a:gd name="T0" fmla="*/ 0 w 39"/>
                <a:gd name="T1" fmla="*/ 49 h 49"/>
                <a:gd name="T2" fmla="*/ 1 w 39"/>
                <a:gd name="T3" fmla="*/ 49 h 49"/>
                <a:gd name="T4" fmla="*/ 0 w 39"/>
                <a:gd name="T5" fmla="*/ 49 h 49"/>
                <a:gd name="T6" fmla="*/ 38 w 39"/>
                <a:gd name="T7" fmla="*/ 0 h 49"/>
                <a:gd name="T8" fmla="*/ 39 w 39"/>
                <a:gd name="T9" fmla="*/ 1 h 49"/>
                <a:gd name="T10" fmla="*/ 39 w 39"/>
                <a:gd name="T11" fmla="*/ 1 h 49"/>
                <a:gd name="T12" fmla="*/ 38 w 39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49">
                  <a:moveTo>
                    <a:pt x="0" y="49"/>
                  </a:moveTo>
                  <a:cubicBezTo>
                    <a:pt x="1" y="49"/>
                    <a:pt x="1" y="49"/>
                    <a:pt x="1" y="49"/>
                  </a:cubicBezTo>
                  <a:cubicBezTo>
                    <a:pt x="1" y="49"/>
                    <a:pt x="1" y="49"/>
                    <a:pt x="0" y="49"/>
                  </a:cubicBezTo>
                  <a:moveTo>
                    <a:pt x="38" y="0"/>
                  </a:moveTo>
                  <a:cubicBezTo>
                    <a:pt x="38" y="0"/>
                    <a:pt x="39" y="0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0"/>
                    <a:pt x="38" y="0"/>
                    <a:pt x="38" y="0"/>
                  </a:cubicBezTo>
                </a:path>
              </a:pathLst>
            </a:custGeom>
            <a:solidFill>
              <a:srgbClr val="F8E8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7" name="Freeform 141"/>
            <p:cNvSpPr>
              <a:spLocks/>
            </p:cNvSpPr>
            <p:nvPr/>
          </p:nvSpPr>
          <p:spPr bwMode="auto">
            <a:xfrm>
              <a:off x="8664575" y="2906713"/>
              <a:ext cx="28575" cy="39687"/>
            </a:xfrm>
            <a:custGeom>
              <a:avLst/>
              <a:gdLst>
                <a:gd name="T0" fmla="*/ 35 w 36"/>
                <a:gd name="T1" fmla="*/ 0 h 50"/>
                <a:gd name="T2" fmla="*/ 34 w 36"/>
                <a:gd name="T3" fmla="*/ 5 h 50"/>
                <a:gd name="T4" fmla="*/ 1 w 36"/>
                <a:gd name="T5" fmla="*/ 50 h 50"/>
                <a:gd name="T6" fmla="*/ 0 w 36"/>
                <a:gd name="T7" fmla="*/ 50 h 50"/>
                <a:gd name="T8" fmla="*/ 2 w 36"/>
                <a:gd name="T9" fmla="*/ 50 h 50"/>
                <a:gd name="T10" fmla="*/ 34 w 36"/>
                <a:gd name="T11" fmla="*/ 5 h 50"/>
                <a:gd name="T12" fmla="*/ 36 w 36"/>
                <a:gd name="T13" fmla="*/ 1 h 50"/>
                <a:gd name="T14" fmla="*/ 35 w 36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50">
                  <a:moveTo>
                    <a:pt x="35" y="0"/>
                  </a:moveTo>
                  <a:cubicBezTo>
                    <a:pt x="35" y="1"/>
                    <a:pt x="34" y="3"/>
                    <a:pt x="34" y="5"/>
                  </a:cubicBezTo>
                  <a:cubicBezTo>
                    <a:pt x="27" y="40"/>
                    <a:pt x="10" y="50"/>
                    <a:pt x="1" y="50"/>
                  </a:cubicBezTo>
                  <a:cubicBezTo>
                    <a:pt x="1" y="50"/>
                    <a:pt x="0" y="50"/>
                    <a:pt x="0" y="50"/>
                  </a:cubicBezTo>
                  <a:cubicBezTo>
                    <a:pt x="1" y="50"/>
                    <a:pt x="1" y="50"/>
                    <a:pt x="2" y="50"/>
                  </a:cubicBezTo>
                  <a:cubicBezTo>
                    <a:pt x="10" y="50"/>
                    <a:pt x="28" y="41"/>
                    <a:pt x="34" y="5"/>
                  </a:cubicBezTo>
                  <a:cubicBezTo>
                    <a:pt x="35" y="3"/>
                    <a:pt x="36" y="2"/>
                    <a:pt x="36" y="1"/>
                  </a:cubicBezTo>
                  <a:cubicBezTo>
                    <a:pt x="36" y="1"/>
                    <a:pt x="35" y="0"/>
                    <a:pt x="3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8" name="Freeform 142"/>
            <p:cNvSpPr>
              <a:spLocks/>
            </p:cNvSpPr>
            <p:nvPr/>
          </p:nvSpPr>
          <p:spPr bwMode="auto">
            <a:xfrm>
              <a:off x="8642350" y="2887663"/>
              <a:ext cx="50800" cy="58737"/>
            </a:xfrm>
            <a:custGeom>
              <a:avLst/>
              <a:gdLst>
                <a:gd name="T0" fmla="*/ 43 w 63"/>
                <a:gd name="T1" fmla="*/ 0 h 73"/>
                <a:gd name="T2" fmla="*/ 7 w 63"/>
                <a:gd name="T3" fmla="*/ 51 h 73"/>
                <a:gd name="T4" fmla="*/ 0 w 63"/>
                <a:gd name="T5" fmla="*/ 50 h 73"/>
                <a:gd name="T6" fmla="*/ 24 w 63"/>
                <a:gd name="T7" fmla="*/ 71 h 73"/>
                <a:gd name="T8" fmla="*/ 25 w 63"/>
                <a:gd name="T9" fmla="*/ 71 h 73"/>
                <a:gd name="T10" fmla="*/ 25 w 63"/>
                <a:gd name="T11" fmla="*/ 71 h 73"/>
                <a:gd name="T12" fmla="*/ 28 w 63"/>
                <a:gd name="T13" fmla="*/ 73 h 73"/>
                <a:gd name="T14" fmla="*/ 29 w 63"/>
                <a:gd name="T15" fmla="*/ 73 h 73"/>
                <a:gd name="T16" fmla="*/ 62 w 63"/>
                <a:gd name="T17" fmla="*/ 28 h 73"/>
                <a:gd name="T18" fmla="*/ 63 w 63"/>
                <a:gd name="T19" fmla="*/ 23 h 73"/>
                <a:gd name="T20" fmla="*/ 62 w 63"/>
                <a:gd name="T21" fmla="*/ 22 h 73"/>
                <a:gd name="T22" fmla="*/ 43 w 63"/>
                <a:gd name="T23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3" h="73">
                  <a:moveTo>
                    <a:pt x="43" y="0"/>
                  </a:moveTo>
                  <a:cubicBezTo>
                    <a:pt x="40" y="18"/>
                    <a:pt x="30" y="51"/>
                    <a:pt x="7" y="51"/>
                  </a:cubicBezTo>
                  <a:cubicBezTo>
                    <a:pt x="5" y="51"/>
                    <a:pt x="3" y="51"/>
                    <a:pt x="0" y="50"/>
                  </a:cubicBezTo>
                  <a:cubicBezTo>
                    <a:pt x="8" y="57"/>
                    <a:pt x="15" y="64"/>
                    <a:pt x="24" y="71"/>
                  </a:cubicBezTo>
                  <a:cubicBezTo>
                    <a:pt x="25" y="71"/>
                    <a:pt x="25" y="71"/>
                    <a:pt x="25" y="71"/>
                  </a:cubicBezTo>
                  <a:cubicBezTo>
                    <a:pt x="25" y="71"/>
                    <a:pt x="25" y="71"/>
                    <a:pt x="25" y="71"/>
                  </a:cubicBezTo>
                  <a:cubicBezTo>
                    <a:pt x="26" y="72"/>
                    <a:pt x="27" y="72"/>
                    <a:pt x="28" y="73"/>
                  </a:cubicBezTo>
                  <a:cubicBezTo>
                    <a:pt x="28" y="73"/>
                    <a:pt x="29" y="73"/>
                    <a:pt x="29" y="73"/>
                  </a:cubicBezTo>
                  <a:cubicBezTo>
                    <a:pt x="38" y="73"/>
                    <a:pt x="55" y="63"/>
                    <a:pt x="62" y="28"/>
                  </a:cubicBezTo>
                  <a:cubicBezTo>
                    <a:pt x="62" y="26"/>
                    <a:pt x="63" y="24"/>
                    <a:pt x="63" y="23"/>
                  </a:cubicBezTo>
                  <a:cubicBezTo>
                    <a:pt x="63" y="22"/>
                    <a:pt x="62" y="22"/>
                    <a:pt x="62" y="22"/>
                  </a:cubicBezTo>
                  <a:cubicBezTo>
                    <a:pt x="57" y="16"/>
                    <a:pt x="51" y="8"/>
                    <a:pt x="43" y="0"/>
                  </a:cubicBezTo>
                </a:path>
              </a:pathLst>
            </a:custGeom>
            <a:solidFill>
              <a:srgbClr val="FAEF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9" name="Freeform 143"/>
            <p:cNvSpPr>
              <a:spLocks/>
            </p:cNvSpPr>
            <p:nvPr/>
          </p:nvSpPr>
          <p:spPr bwMode="auto">
            <a:xfrm>
              <a:off x="8797925" y="2640013"/>
              <a:ext cx="104775" cy="166687"/>
            </a:xfrm>
            <a:custGeom>
              <a:avLst/>
              <a:gdLst>
                <a:gd name="T0" fmla="*/ 122 w 130"/>
                <a:gd name="T1" fmla="*/ 0 h 208"/>
                <a:gd name="T2" fmla="*/ 45 w 130"/>
                <a:gd name="T3" fmla="*/ 109 h 208"/>
                <a:gd name="T4" fmla="*/ 0 w 130"/>
                <a:gd name="T5" fmla="*/ 195 h 208"/>
                <a:gd name="T6" fmla="*/ 13 w 130"/>
                <a:gd name="T7" fmla="*/ 208 h 208"/>
                <a:gd name="T8" fmla="*/ 68 w 130"/>
                <a:gd name="T9" fmla="*/ 122 h 208"/>
                <a:gd name="T10" fmla="*/ 123 w 130"/>
                <a:gd name="T11" fmla="*/ 0 h 208"/>
                <a:gd name="T12" fmla="*/ 122 w 130"/>
                <a:gd name="T13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208">
                  <a:moveTo>
                    <a:pt x="122" y="0"/>
                  </a:moveTo>
                  <a:cubicBezTo>
                    <a:pt x="114" y="0"/>
                    <a:pt x="81" y="47"/>
                    <a:pt x="45" y="109"/>
                  </a:cubicBezTo>
                  <a:cubicBezTo>
                    <a:pt x="26" y="142"/>
                    <a:pt x="10" y="173"/>
                    <a:pt x="0" y="195"/>
                  </a:cubicBezTo>
                  <a:cubicBezTo>
                    <a:pt x="4" y="200"/>
                    <a:pt x="9" y="204"/>
                    <a:pt x="13" y="208"/>
                  </a:cubicBezTo>
                  <a:cubicBezTo>
                    <a:pt x="28" y="188"/>
                    <a:pt x="48" y="158"/>
                    <a:pt x="68" y="122"/>
                  </a:cubicBezTo>
                  <a:cubicBezTo>
                    <a:pt x="105" y="58"/>
                    <a:pt x="130" y="4"/>
                    <a:pt x="123" y="0"/>
                  </a:cubicBezTo>
                  <a:cubicBezTo>
                    <a:pt x="123" y="0"/>
                    <a:pt x="123" y="0"/>
                    <a:pt x="122" y="0"/>
                  </a:cubicBezTo>
                </a:path>
              </a:pathLst>
            </a:custGeom>
            <a:solidFill>
              <a:srgbClr val="F9EB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0" name="Freeform 144"/>
            <p:cNvSpPr>
              <a:spLocks/>
            </p:cNvSpPr>
            <p:nvPr/>
          </p:nvSpPr>
          <p:spPr bwMode="auto">
            <a:xfrm>
              <a:off x="8786813" y="2797175"/>
              <a:ext cx="20638" cy="28575"/>
            </a:xfrm>
            <a:custGeom>
              <a:avLst/>
              <a:gdLst>
                <a:gd name="T0" fmla="*/ 13 w 26"/>
                <a:gd name="T1" fmla="*/ 0 h 36"/>
                <a:gd name="T2" fmla="*/ 3 w 26"/>
                <a:gd name="T3" fmla="*/ 35 h 36"/>
                <a:gd name="T4" fmla="*/ 4 w 26"/>
                <a:gd name="T5" fmla="*/ 36 h 36"/>
                <a:gd name="T6" fmla="*/ 26 w 26"/>
                <a:gd name="T7" fmla="*/ 13 h 36"/>
                <a:gd name="T8" fmla="*/ 13 w 26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36">
                  <a:moveTo>
                    <a:pt x="13" y="0"/>
                  </a:moveTo>
                  <a:cubicBezTo>
                    <a:pt x="4" y="20"/>
                    <a:pt x="0" y="34"/>
                    <a:pt x="3" y="35"/>
                  </a:cubicBezTo>
                  <a:cubicBezTo>
                    <a:pt x="4" y="35"/>
                    <a:pt x="4" y="36"/>
                    <a:pt x="4" y="36"/>
                  </a:cubicBezTo>
                  <a:cubicBezTo>
                    <a:pt x="8" y="36"/>
                    <a:pt x="16" y="27"/>
                    <a:pt x="26" y="13"/>
                  </a:cubicBezTo>
                  <a:cubicBezTo>
                    <a:pt x="22" y="9"/>
                    <a:pt x="17" y="5"/>
                    <a:pt x="13" y="0"/>
                  </a:cubicBezTo>
                </a:path>
              </a:pathLst>
            </a:custGeom>
            <a:solidFill>
              <a:srgbClr val="FAF0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1" name="Freeform 145"/>
            <p:cNvSpPr>
              <a:spLocks/>
            </p:cNvSpPr>
            <p:nvPr/>
          </p:nvSpPr>
          <p:spPr bwMode="auto">
            <a:xfrm>
              <a:off x="8223250" y="1312863"/>
              <a:ext cx="377825" cy="1004887"/>
            </a:xfrm>
            <a:custGeom>
              <a:avLst/>
              <a:gdLst>
                <a:gd name="T0" fmla="*/ 126 w 469"/>
                <a:gd name="T1" fmla="*/ 998 h 1246"/>
                <a:gd name="T2" fmla="*/ 166 w 469"/>
                <a:gd name="T3" fmla="*/ 735 h 1246"/>
                <a:gd name="T4" fmla="*/ 274 w 469"/>
                <a:gd name="T5" fmla="*/ 288 h 1246"/>
                <a:gd name="T6" fmla="*/ 469 w 469"/>
                <a:gd name="T7" fmla="*/ 0 h 1246"/>
                <a:gd name="T8" fmla="*/ 306 w 469"/>
                <a:gd name="T9" fmla="*/ 33 h 1246"/>
                <a:gd name="T10" fmla="*/ 136 w 469"/>
                <a:gd name="T11" fmla="*/ 87 h 1246"/>
                <a:gd name="T12" fmla="*/ 72 w 469"/>
                <a:gd name="T13" fmla="*/ 552 h 1246"/>
                <a:gd name="T14" fmla="*/ 50 w 469"/>
                <a:gd name="T15" fmla="*/ 1219 h 1246"/>
                <a:gd name="T16" fmla="*/ 134 w 469"/>
                <a:gd name="T17" fmla="*/ 1246 h 1246"/>
                <a:gd name="T18" fmla="*/ 126 w 469"/>
                <a:gd name="T19" fmla="*/ 998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9" h="1246">
                  <a:moveTo>
                    <a:pt x="126" y="998"/>
                  </a:moveTo>
                  <a:cubicBezTo>
                    <a:pt x="198" y="810"/>
                    <a:pt x="170" y="801"/>
                    <a:pt x="166" y="735"/>
                  </a:cubicBezTo>
                  <a:cubicBezTo>
                    <a:pt x="160" y="620"/>
                    <a:pt x="256" y="418"/>
                    <a:pt x="274" y="288"/>
                  </a:cubicBezTo>
                  <a:cubicBezTo>
                    <a:pt x="286" y="200"/>
                    <a:pt x="270" y="98"/>
                    <a:pt x="469" y="0"/>
                  </a:cubicBezTo>
                  <a:cubicBezTo>
                    <a:pt x="409" y="14"/>
                    <a:pt x="353" y="25"/>
                    <a:pt x="306" y="33"/>
                  </a:cubicBezTo>
                  <a:cubicBezTo>
                    <a:pt x="267" y="40"/>
                    <a:pt x="168" y="64"/>
                    <a:pt x="136" y="87"/>
                  </a:cubicBezTo>
                  <a:cubicBezTo>
                    <a:pt x="46" y="152"/>
                    <a:pt x="97" y="414"/>
                    <a:pt x="72" y="552"/>
                  </a:cubicBezTo>
                  <a:cubicBezTo>
                    <a:pt x="45" y="702"/>
                    <a:pt x="0" y="1154"/>
                    <a:pt x="50" y="1219"/>
                  </a:cubicBezTo>
                  <a:cubicBezTo>
                    <a:pt x="66" y="1240"/>
                    <a:pt x="114" y="1235"/>
                    <a:pt x="134" y="1246"/>
                  </a:cubicBezTo>
                  <a:cubicBezTo>
                    <a:pt x="114" y="1222"/>
                    <a:pt x="69" y="1148"/>
                    <a:pt x="126" y="998"/>
                  </a:cubicBezTo>
                  <a:close/>
                </a:path>
              </a:pathLst>
            </a:custGeom>
            <a:solidFill>
              <a:srgbClr val="DDBC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2" name="Freeform 146"/>
            <p:cNvSpPr>
              <a:spLocks/>
            </p:cNvSpPr>
            <p:nvPr/>
          </p:nvSpPr>
          <p:spPr bwMode="auto">
            <a:xfrm>
              <a:off x="8386763" y="2146300"/>
              <a:ext cx="50800" cy="161925"/>
            </a:xfrm>
            <a:custGeom>
              <a:avLst/>
              <a:gdLst>
                <a:gd name="T0" fmla="*/ 3 w 62"/>
                <a:gd name="T1" fmla="*/ 201 h 201"/>
                <a:gd name="T2" fmla="*/ 2 w 62"/>
                <a:gd name="T3" fmla="*/ 201 h 201"/>
                <a:gd name="T4" fmla="*/ 1 w 62"/>
                <a:gd name="T5" fmla="*/ 197 h 201"/>
                <a:gd name="T6" fmla="*/ 1 w 62"/>
                <a:gd name="T7" fmla="*/ 5 h 201"/>
                <a:gd name="T8" fmla="*/ 2 w 62"/>
                <a:gd name="T9" fmla="*/ 1 h 201"/>
                <a:gd name="T10" fmla="*/ 6 w 62"/>
                <a:gd name="T11" fmla="*/ 2 h 201"/>
                <a:gd name="T12" fmla="*/ 6 w 62"/>
                <a:gd name="T13" fmla="*/ 200 h 201"/>
                <a:gd name="T14" fmla="*/ 3 w 62"/>
                <a:gd name="T15" fmla="*/ 201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2" h="201">
                  <a:moveTo>
                    <a:pt x="3" y="201"/>
                  </a:moveTo>
                  <a:cubicBezTo>
                    <a:pt x="3" y="201"/>
                    <a:pt x="3" y="201"/>
                    <a:pt x="2" y="201"/>
                  </a:cubicBezTo>
                  <a:cubicBezTo>
                    <a:pt x="1" y="200"/>
                    <a:pt x="0" y="198"/>
                    <a:pt x="1" y="197"/>
                  </a:cubicBezTo>
                  <a:cubicBezTo>
                    <a:pt x="55" y="113"/>
                    <a:pt x="2" y="6"/>
                    <a:pt x="1" y="5"/>
                  </a:cubicBezTo>
                  <a:cubicBezTo>
                    <a:pt x="0" y="3"/>
                    <a:pt x="1" y="1"/>
                    <a:pt x="2" y="1"/>
                  </a:cubicBezTo>
                  <a:cubicBezTo>
                    <a:pt x="4" y="0"/>
                    <a:pt x="6" y="0"/>
                    <a:pt x="6" y="2"/>
                  </a:cubicBezTo>
                  <a:cubicBezTo>
                    <a:pt x="7" y="3"/>
                    <a:pt x="62" y="114"/>
                    <a:pt x="6" y="200"/>
                  </a:cubicBezTo>
                  <a:cubicBezTo>
                    <a:pt x="6" y="201"/>
                    <a:pt x="4" y="201"/>
                    <a:pt x="3" y="201"/>
                  </a:cubicBezTo>
                  <a:close/>
                </a:path>
              </a:pathLst>
            </a:custGeom>
            <a:solidFill>
              <a:srgbClr val="DDBC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3" name="Freeform 147"/>
            <p:cNvSpPr>
              <a:spLocks/>
            </p:cNvSpPr>
            <p:nvPr/>
          </p:nvSpPr>
          <p:spPr bwMode="auto">
            <a:xfrm>
              <a:off x="8462963" y="1354138"/>
              <a:ext cx="88900" cy="138112"/>
            </a:xfrm>
            <a:custGeom>
              <a:avLst/>
              <a:gdLst>
                <a:gd name="T0" fmla="*/ 109 w 111"/>
                <a:gd name="T1" fmla="*/ 2 h 171"/>
                <a:gd name="T2" fmla="*/ 110 w 111"/>
                <a:gd name="T3" fmla="*/ 2 h 171"/>
                <a:gd name="T4" fmla="*/ 109 w 111"/>
                <a:gd name="T5" fmla="*/ 6 h 171"/>
                <a:gd name="T6" fmla="*/ 6 w 111"/>
                <a:gd name="T7" fmla="*/ 169 h 171"/>
                <a:gd name="T8" fmla="*/ 3 w 111"/>
                <a:gd name="T9" fmla="*/ 171 h 171"/>
                <a:gd name="T10" fmla="*/ 0 w 111"/>
                <a:gd name="T11" fmla="*/ 168 h 171"/>
                <a:gd name="T12" fmla="*/ 106 w 111"/>
                <a:gd name="T13" fmla="*/ 1 h 171"/>
                <a:gd name="T14" fmla="*/ 109 w 111"/>
                <a:gd name="T15" fmla="*/ 2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1" h="171">
                  <a:moveTo>
                    <a:pt x="109" y="2"/>
                  </a:moveTo>
                  <a:cubicBezTo>
                    <a:pt x="110" y="2"/>
                    <a:pt x="110" y="2"/>
                    <a:pt x="110" y="2"/>
                  </a:cubicBezTo>
                  <a:cubicBezTo>
                    <a:pt x="111" y="4"/>
                    <a:pt x="110" y="6"/>
                    <a:pt x="109" y="6"/>
                  </a:cubicBezTo>
                  <a:cubicBezTo>
                    <a:pt x="19" y="48"/>
                    <a:pt x="6" y="167"/>
                    <a:pt x="6" y="169"/>
                  </a:cubicBezTo>
                  <a:cubicBezTo>
                    <a:pt x="6" y="170"/>
                    <a:pt x="4" y="171"/>
                    <a:pt x="3" y="171"/>
                  </a:cubicBezTo>
                  <a:cubicBezTo>
                    <a:pt x="1" y="171"/>
                    <a:pt x="0" y="170"/>
                    <a:pt x="0" y="168"/>
                  </a:cubicBezTo>
                  <a:cubicBezTo>
                    <a:pt x="0" y="167"/>
                    <a:pt x="13" y="44"/>
                    <a:pt x="106" y="1"/>
                  </a:cubicBezTo>
                  <a:cubicBezTo>
                    <a:pt x="107" y="0"/>
                    <a:pt x="109" y="1"/>
                    <a:pt x="109" y="2"/>
                  </a:cubicBezTo>
                  <a:close/>
                </a:path>
              </a:pathLst>
            </a:custGeom>
            <a:solidFill>
              <a:srgbClr val="DDBC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4" name="Freeform 148"/>
            <p:cNvSpPr>
              <a:spLocks/>
            </p:cNvSpPr>
            <p:nvPr/>
          </p:nvSpPr>
          <p:spPr bwMode="auto">
            <a:xfrm>
              <a:off x="8966200" y="2316163"/>
              <a:ext cx="125413" cy="109537"/>
            </a:xfrm>
            <a:custGeom>
              <a:avLst/>
              <a:gdLst>
                <a:gd name="T0" fmla="*/ 153 w 156"/>
                <a:gd name="T1" fmla="*/ 137 h 137"/>
                <a:gd name="T2" fmla="*/ 153 w 156"/>
                <a:gd name="T3" fmla="*/ 137 h 137"/>
                <a:gd name="T4" fmla="*/ 1 w 156"/>
                <a:gd name="T5" fmla="*/ 5 h 137"/>
                <a:gd name="T6" fmla="*/ 2 w 156"/>
                <a:gd name="T7" fmla="*/ 1 h 137"/>
                <a:gd name="T8" fmla="*/ 6 w 156"/>
                <a:gd name="T9" fmla="*/ 2 h 137"/>
                <a:gd name="T10" fmla="*/ 154 w 156"/>
                <a:gd name="T11" fmla="*/ 131 h 137"/>
                <a:gd name="T12" fmla="*/ 156 w 156"/>
                <a:gd name="T13" fmla="*/ 134 h 137"/>
                <a:gd name="T14" fmla="*/ 153 w 156"/>
                <a:gd name="T15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6" h="137">
                  <a:moveTo>
                    <a:pt x="153" y="137"/>
                  </a:moveTo>
                  <a:cubicBezTo>
                    <a:pt x="153" y="137"/>
                    <a:pt x="153" y="137"/>
                    <a:pt x="153" y="137"/>
                  </a:cubicBezTo>
                  <a:cubicBezTo>
                    <a:pt x="87" y="133"/>
                    <a:pt x="4" y="10"/>
                    <a:pt x="1" y="5"/>
                  </a:cubicBezTo>
                  <a:cubicBezTo>
                    <a:pt x="0" y="4"/>
                    <a:pt x="0" y="2"/>
                    <a:pt x="2" y="1"/>
                  </a:cubicBezTo>
                  <a:cubicBezTo>
                    <a:pt x="3" y="0"/>
                    <a:pt x="5" y="0"/>
                    <a:pt x="6" y="2"/>
                  </a:cubicBezTo>
                  <a:cubicBezTo>
                    <a:pt x="7" y="3"/>
                    <a:pt x="90" y="127"/>
                    <a:pt x="154" y="131"/>
                  </a:cubicBezTo>
                  <a:cubicBezTo>
                    <a:pt x="155" y="131"/>
                    <a:pt x="156" y="132"/>
                    <a:pt x="156" y="134"/>
                  </a:cubicBezTo>
                  <a:cubicBezTo>
                    <a:pt x="156" y="136"/>
                    <a:pt x="155" y="137"/>
                    <a:pt x="153" y="137"/>
                  </a:cubicBezTo>
                  <a:close/>
                </a:path>
              </a:pathLst>
            </a:custGeom>
            <a:solidFill>
              <a:srgbClr val="DDBC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5" name="Freeform 149"/>
            <p:cNvSpPr>
              <a:spLocks/>
            </p:cNvSpPr>
            <p:nvPr/>
          </p:nvSpPr>
          <p:spPr bwMode="auto">
            <a:xfrm>
              <a:off x="9026525" y="2224088"/>
              <a:ext cx="114300" cy="111125"/>
            </a:xfrm>
            <a:custGeom>
              <a:avLst/>
              <a:gdLst>
                <a:gd name="T0" fmla="*/ 138 w 142"/>
                <a:gd name="T1" fmla="*/ 138 h 138"/>
                <a:gd name="T2" fmla="*/ 136 w 142"/>
                <a:gd name="T3" fmla="*/ 136 h 138"/>
                <a:gd name="T4" fmla="*/ 3 w 142"/>
                <a:gd name="T5" fmla="*/ 7 h 138"/>
                <a:gd name="T6" fmla="*/ 0 w 142"/>
                <a:gd name="T7" fmla="*/ 3 h 138"/>
                <a:gd name="T8" fmla="*/ 4 w 142"/>
                <a:gd name="T9" fmla="*/ 1 h 138"/>
                <a:gd name="T10" fmla="*/ 141 w 142"/>
                <a:gd name="T11" fmla="*/ 134 h 138"/>
                <a:gd name="T12" fmla="*/ 140 w 142"/>
                <a:gd name="T13" fmla="*/ 138 h 138"/>
                <a:gd name="T14" fmla="*/ 138 w 142"/>
                <a:gd name="T15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138">
                  <a:moveTo>
                    <a:pt x="138" y="138"/>
                  </a:moveTo>
                  <a:cubicBezTo>
                    <a:pt x="137" y="138"/>
                    <a:pt x="136" y="138"/>
                    <a:pt x="136" y="136"/>
                  </a:cubicBezTo>
                  <a:cubicBezTo>
                    <a:pt x="92" y="30"/>
                    <a:pt x="3" y="7"/>
                    <a:pt x="3" y="7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1" y="1"/>
                    <a:pt x="2" y="0"/>
                    <a:pt x="4" y="1"/>
                  </a:cubicBezTo>
                  <a:cubicBezTo>
                    <a:pt x="5" y="1"/>
                    <a:pt x="96" y="25"/>
                    <a:pt x="141" y="134"/>
                  </a:cubicBezTo>
                  <a:cubicBezTo>
                    <a:pt x="142" y="136"/>
                    <a:pt x="141" y="137"/>
                    <a:pt x="140" y="138"/>
                  </a:cubicBezTo>
                  <a:cubicBezTo>
                    <a:pt x="139" y="138"/>
                    <a:pt x="139" y="138"/>
                    <a:pt x="138" y="138"/>
                  </a:cubicBezTo>
                  <a:close/>
                </a:path>
              </a:pathLst>
            </a:custGeom>
            <a:solidFill>
              <a:srgbClr val="DDBC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6" name="Freeform 150"/>
            <p:cNvSpPr>
              <a:spLocks/>
            </p:cNvSpPr>
            <p:nvPr/>
          </p:nvSpPr>
          <p:spPr bwMode="auto">
            <a:xfrm>
              <a:off x="9020175" y="2278063"/>
              <a:ext cx="30163" cy="57150"/>
            </a:xfrm>
            <a:custGeom>
              <a:avLst/>
              <a:gdLst>
                <a:gd name="T0" fmla="*/ 12 w 38"/>
                <a:gd name="T1" fmla="*/ 72 h 72"/>
                <a:gd name="T2" fmla="*/ 10 w 38"/>
                <a:gd name="T3" fmla="*/ 71 h 72"/>
                <a:gd name="T4" fmla="*/ 4 w 38"/>
                <a:gd name="T5" fmla="*/ 35 h 72"/>
                <a:gd name="T6" fmla="*/ 33 w 38"/>
                <a:gd name="T7" fmla="*/ 1 h 72"/>
                <a:gd name="T8" fmla="*/ 37 w 38"/>
                <a:gd name="T9" fmla="*/ 2 h 72"/>
                <a:gd name="T10" fmla="*/ 36 w 38"/>
                <a:gd name="T11" fmla="*/ 6 h 72"/>
                <a:gd name="T12" fmla="*/ 10 w 38"/>
                <a:gd name="T13" fmla="*/ 37 h 72"/>
                <a:gd name="T14" fmla="*/ 15 w 38"/>
                <a:gd name="T15" fmla="*/ 68 h 72"/>
                <a:gd name="T16" fmla="*/ 14 w 38"/>
                <a:gd name="T17" fmla="*/ 72 h 72"/>
                <a:gd name="T18" fmla="*/ 12 w 38"/>
                <a:gd name="T1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72">
                  <a:moveTo>
                    <a:pt x="12" y="72"/>
                  </a:moveTo>
                  <a:cubicBezTo>
                    <a:pt x="11" y="72"/>
                    <a:pt x="10" y="72"/>
                    <a:pt x="10" y="71"/>
                  </a:cubicBezTo>
                  <a:cubicBezTo>
                    <a:pt x="9" y="70"/>
                    <a:pt x="0" y="54"/>
                    <a:pt x="4" y="35"/>
                  </a:cubicBezTo>
                  <a:cubicBezTo>
                    <a:pt x="8" y="22"/>
                    <a:pt x="17" y="10"/>
                    <a:pt x="33" y="1"/>
                  </a:cubicBezTo>
                  <a:cubicBezTo>
                    <a:pt x="35" y="0"/>
                    <a:pt x="36" y="0"/>
                    <a:pt x="37" y="2"/>
                  </a:cubicBezTo>
                  <a:cubicBezTo>
                    <a:pt x="38" y="3"/>
                    <a:pt x="38" y="5"/>
                    <a:pt x="36" y="6"/>
                  </a:cubicBezTo>
                  <a:cubicBezTo>
                    <a:pt x="22" y="14"/>
                    <a:pt x="13" y="25"/>
                    <a:pt x="10" y="37"/>
                  </a:cubicBezTo>
                  <a:cubicBezTo>
                    <a:pt x="6" y="53"/>
                    <a:pt x="15" y="67"/>
                    <a:pt x="15" y="68"/>
                  </a:cubicBezTo>
                  <a:cubicBezTo>
                    <a:pt x="16" y="69"/>
                    <a:pt x="15" y="71"/>
                    <a:pt x="14" y="72"/>
                  </a:cubicBezTo>
                  <a:cubicBezTo>
                    <a:pt x="13" y="72"/>
                    <a:pt x="13" y="72"/>
                    <a:pt x="12" y="72"/>
                  </a:cubicBezTo>
                  <a:close/>
                </a:path>
              </a:pathLst>
            </a:custGeom>
            <a:solidFill>
              <a:srgbClr val="DDBC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Freeform 151"/>
            <p:cNvSpPr>
              <a:spLocks/>
            </p:cNvSpPr>
            <p:nvPr/>
          </p:nvSpPr>
          <p:spPr bwMode="auto">
            <a:xfrm>
              <a:off x="9063038" y="2305050"/>
              <a:ext cx="44450" cy="68262"/>
            </a:xfrm>
            <a:custGeom>
              <a:avLst/>
              <a:gdLst>
                <a:gd name="T0" fmla="*/ 52 w 55"/>
                <a:gd name="T1" fmla="*/ 85 h 85"/>
                <a:gd name="T2" fmla="*/ 49 w 55"/>
                <a:gd name="T3" fmla="*/ 82 h 85"/>
                <a:gd name="T4" fmla="*/ 1 w 55"/>
                <a:gd name="T5" fmla="*/ 5 h 85"/>
                <a:gd name="T6" fmla="*/ 1 w 55"/>
                <a:gd name="T7" fmla="*/ 1 h 85"/>
                <a:gd name="T8" fmla="*/ 5 w 55"/>
                <a:gd name="T9" fmla="*/ 1 h 85"/>
                <a:gd name="T10" fmla="*/ 55 w 55"/>
                <a:gd name="T11" fmla="*/ 82 h 85"/>
                <a:gd name="T12" fmla="*/ 52 w 55"/>
                <a:gd name="T13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85">
                  <a:moveTo>
                    <a:pt x="52" y="85"/>
                  </a:moveTo>
                  <a:cubicBezTo>
                    <a:pt x="50" y="85"/>
                    <a:pt x="49" y="83"/>
                    <a:pt x="49" y="82"/>
                  </a:cubicBezTo>
                  <a:cubicBezTo>
                    <a:pt x="49" y="47"/>
                    <a:pt x="2" y="6"/>
                    <a:pt x="1" y="5"/>
                  </a:cubicBezTo>
                  <a:cubicBezTo>
                    <a:pt x="0" y="4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7" y="3"/>
                    <a:pt x="55" y="44"/>
                    <a:pt x="55" y="82"/>
                  </a:cubicBezTo>
                  <a:cubicBezTo>
                    <a:pt x="55" y="83"/>
                    <a:pt x="54" y="85"/>
                    <a:pt x="52" y="85"/>
                  </a:cubicBezTo>
                  <a:close/>
                </a:path>
              </a:pathLst>
            </a:custGeom>
            <a:solidFill>
              <a:srgbClr val="DDBC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Freeform 152"/>
            <p:cNvSpPr>
              <a:spLocks/>
            </p:cNvSpPr>
            <p:nvPr/>
          </p:nvSpPr>
          <p:spPr bwMode="auto">
            <a:xfrm>
              <a:off x="8724900" y="1995488"/>
              <a:ext cx="268288" cy="311150"/>
            </a:xfrm>
            <a:custGeom>
              <a:avLst/>
              <a:gdLst>
                <a:gd name="T0" fmla="*/ 332 w 332"/>
                <a:gd name="T1" fmla="*/ 11 h 386"/>
                <a:gd name="T2" fmla="*/ 209 w 332"/>
                <a:gd name="T3" fmla="*/ 2 h 386"/>
                <a:gd name="T4" fmla="*/ 9 w 332"/>
                <a:gd name="T5" fmla="*/ 96 h 386"/>
                <a:gd name="T6" fmla="*/ 108 w 332"/>
                <a:gd name="T7" fmla="*/ 92 h 386"/>
                <a:gd name="T8" fmla="*/ 133 w 332"/>
                <a:gd name="T9" fmla="*/ 92 h 386"/>
                <a:gd name="T10" fmla="*/ 196 w 332"/>
                <a:gd name="T11" fmla="*/ 106 h 386"/>
                <a:gd name="T12" fmla="*/ 196 w 332"/>
                <a:gd name="T13" fmla="*/ 206 h 386"/>
                <a:gd name="T14" fmla="*/ 78 w 332"/>
                <a:gd name="T15" fmla="*/ 369 h 386"/>
                <a:gd name="T16" fmla="*/ 332 w 332"/>
                <a:gd name="T17" fmla="*/ 11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2" h="386">
                  <a:moveTo>
                    <a:pt x="332" y="11"/>
                  </a:moveTo>
                  <a:cubicBezTo>
                    <a:pt x="332" y="11"/>
                    <a:pt x="239" y="0"/>
                    <a:pt x="209" y="2"/>
                  </a:cubicBezTo>
                  <a:cubicBezTo>
                    <a:pt x="67" y="10"/>
                    <a:pt x="0" y="102"/>
                    <a:pt x="9" y="96"/>
                  </a:cubicBezTo>
                  <a:cubicBezTo>
                    <a:pt x="9" y="96"/>
                    <a:pt x="90" y="91"/>
                    <a:pt x="108" y="92"/>
                  </a:cubicBezTo>
                  <a:cubicBezTo>
                    <a:pt x="116" y="92"/>
                    <a:pt x="124" y="92"/>
                    <a:pt x="133" y="92"/>
                  </a:cubicBezTo>
                  <a:cubicBezTo>
                    <a:pt x="156" y="91"/>
                    <a:pt x="180" y="91"/>
                    <a:pt x="196" y="106"/>
                  </a:cubicBezTo>
                  <a:cubicBezTo>
                    <a:pt x="213" y="123"/>
                    <a:pt x="207" y="184"/>
                    <a:pt x="196" y="206"/>
                  </a:cubicBezTo>
                  <a:cubicBezTo>
                    <a:pt x="173" y="251"/>
                    <a:pt x="31" y="386"/>
                    <a:pt x="78" y="369"/>
                  </a:cubicBezTo>
                  <a:cubicBezTo>
                    <a:pt x="321" y="281"/>
                    <a:pt x="332" y="11"/>
                    <a:pt x="332" y="11"/>
                  </a:cubicBezTo>
                </a:path>
              </a:pathLst>
            </a:custGeom>
            <a:solidFill>
              <a:srgbClr val="DDBC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9" name="Freeform 153"/>
            <p:cNvSpPr>
              <a:spLocks/>
            </p:cNvSpPr>
            <p:nvPr/>
          </p:nvSpPr>
          <p:spPr bwMode="auto">
            <a:xfrm>
              <a:off x="8651875" y="1820863"/>
              <a:ext cx="241300" cy="265112"/>
            </a:xfrm>
            <a:custGeom>
              <a:avLst/>
              <a:gdLst>
                <a:gd name="T0" fmla="*/ 59 w 301"/>
                <a:gd name="T1" fmla="*/ 126 h 330"/>
                <a:gd name="T2" fmla="*/ 0 w 301"/>
                <a:gd name="T3" fmla="*/ 312 h 330"/>
                <a:gd name="T4" fmla="*/ 101 w 301"/>
                <a:gd name="T5" fmla="*/ 312 h 330"/>
                <a:gd name="T6" fmla="*/ 301 w 301"/>
                <a:gd name="T7" fmla="*/ 218 h 330"/>
                <a:gd name="T8" fmla="*/ 202 w 301"/>
                <a:gd name="T9" fmla="*/ 28 h 330"/>
                <a:gd name="T10" fmla="*/ 59 w 301"/>
                <a:gd name="T11" fmla="*/ 126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1" h="330">
                  <a:moveTo>
                    <a:pt x="59" y="126"/>
                  </a:moveTo>
                  <a:cubicBezTo>
                    <a:pt x="16" y="108"/>
                    <a:pt x="0" y="312"/>
                    <a:pt x="0" y="312"/>
                  </a:cubicBezTo>
                  <a:cubicBezTo>
                    <a:pt x="12" y="320"/>
                    <a:pt x="83" y="330"/>
                    <a:pt x="101" y="312"/>
                  </a:cubicBezTo>
                  <a:cubicBezTo>
                    <a:pt x="211" y="205"/>
                    <a:pt x="301" y="218"/>
                    <a:pt x="301" y="218"/>
                  </a:cubicBezTo>
                  <a:cubicBezTo>
                    <a:pt x="301" y="218"/>
                    <a:pt x="199" y="0"/>
                    <a:pt x="202" y="28"/>
                  </a:cubicBezTo>
                  <a:cubicBezTo>
                    <a:pt x="207" y="60"/>
                    <a:pt x="162" y="168"/>
                    <a:pt x="59" y="126"/>
                  </a:cubicBezTo>
                </a:path>
              </a:pathLst>
            </a:custGeom>
            <a:solidFill>
              <a:srgbClr val="724D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0" name="Freeform 154"/>
            <p:cNvSpPr>
              <a:spLocks/>
            </p:cNvSpPr>
            <p:nvPr/>
          </p:nvSpPr>
          <p:spPr bwMode="auto">
            <a:xfrm>
              <a:off x="8716963" y="1973263"/>
              <a:ext cx="296863" cy="642937"/>
            </a:xfrm>
            <a:custGeom>
              <a:avLst/>
              <a:gdLst>
                <a:gd name="T0" fmla="*/ 225 w 369"/>
                <a:gd name="T1" fmla="*/ 314 h 796"/>
                <a:gd name="T2" fmla="*/ 230 w 369"/>
                <a:gd name="T3" fmla="*/ 307 h 796"/>
                <a:gd name="T4" fmla="*/ 225 w 369"/>
                <a:gd name="T5" fmla="*/ 314 h 796"/>
                <a:gd name="T6" fmla="*/ 0 w 369"/>
                <a:gd name="T7" fmla="*/ 796 h 796"/>
                <a:gd name="T8" fmla="*/ 347 w 369"/>
                <a:gd name="T9" fmla="*/ 0 h 796"/>
                <a:gd name="T10" fmla="*/ 181 w 369"/>
                <a:gd name="T11" fmla="*/ 351 h 796"/>
                <a:gd name="T12" fmla="*/ 225 w 369"/>
                <a:gd name="T13" fmla="*/ 314 h 7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9" h="796">
                  <a:moveTo>
                    <a:pt x="225" y="314"/>
                  </a:moveTo>
                  <a:cubicBezTo>
                    <a:pt x="227" y="312"/>
                    <a:pt x="228" y="309"/>
                    <a:pt x="230" y="307"/>
                  </a:cubicBezTo>
                  <a:cubicBezTo>
                    <a:pt x="230" y="307"/>
                    <a:pt x="229" y="310"/>
                    <a:pt x="225" y="314"/>
                  </a:cubicBezTo>
                  <a:cubicBezTo>
                    <a:pt x="61" y="516"/>
                    <a:pt x="16" y="714"/>
                    <a:pt x="0" y="796"/>
                  </a:cubicBezTo>
                  <a:cubicBezTo>
                    <a:pt x="114" y="506"/>
                    <a:pt x="369" y="209"/>
                    <a:pt x="347" y="0"/>
                  </a:cubicBezTo>
                  <a:cubicBezTo>
                    <a:pt x="313" y="217"/>
                    <a:pt x="237" y="292"/>
                    <a:pt x="181" y="351"/>
                  </a:cubicBezTo>
                  <a:cubicBezTo>
                    <a:pt x="204" y="336"/>
                    <a:pt x="218" y="322"/>
                    <a:pt x="225" y="314"/>
                  </a:cubicBezTo>
                  <a:close/>
                </a:path>
              </a:pathLst>
            </a:custGeom>
            <a:solidFill>
              <a:srgbClr val="CBA5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" name="Freeform 159"/>
            <p:cNvSpPr>
              <a:spLocks/>
            </p:cNvSpPr>
            <p:nvPr/>
          </p:nvSpPr>
          <p:spPr bwMode="auto">
            <a:xfrm>
              <a:off x="8702675" y="2640013"/>
              <a:ext cx="28575" cy="203200"/>
            </a:xfrm>
            <a:custGeom>
              <a:avLst/>
              <a:gdLst>
                <a:gd name="T0" fmla="*/ 11 w 36"/>
                <a:gd name="T1" fmla="*/ 0 h 253"/>
                <a:gd name="T2" fmla="*/ 36 w 36"/>
                <a:gd name="T3" fmla="*/ 248 h 253"/>
                <a:gd name="T4" fmla="*/ 28 w 36"/>
                <a:gd name="T5" fmla="*/ 239 h 253"/>
                <a:gd name="T6" fmla="*/ 26 w 36"/>
                <a:gd name="T7" fmla="*/ 253 h 253"/>
                <a:gd name="T8" fmla="*/ 0 w 36"/>
                <a:gd name="T9" fmla="*/ 0 h 253"/>
                <a:gd name="T10" fmla="*/ 6 w 36"/>
                <a:gd name="T11" fmla="*/ 10 h 253"/>
                <a:gd name="T12" fmla="*/ 11 w 36"/>
                <a:gd name="T13" fmla="*/ 0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253">
                  <a:moveTo>
                    <a:pt x="11" y="0"/>
                  </a:moveTo>
                  <a:cubicBezTo>
                    <a:pt x="11" y="0"/>
                    <a:pt x="14" y="171"/>
                    <a:pt x="36" y="248"/>
                  </a:cubicBezTo>
                  <a:cubicBezTo>
                    <a:pt x="28" y="239"/>
                    <a:pt x="28" y="239"/>
                    <a:pt x="28" y="239"/>
                  </a:cubicBezTo>
                  <a:cubicBezTo>
                    <a:pt x="26" y="253"/>
                    <a:pt x="26" y="253"/>
                    <a:pt x="26" y="253"/>
                  </a:cubicBezTo>
                  <a:cubicBezTo>
                    <a:pt x="26" y="253"/>
                    <a:pt x="15" y="156"/>
                    <a:pt x="0" y="0"/>
                  </a:cubicBezTo>
                  <a:cubicBezTo>
                    <a:pt x="6" y="10"/>
                    <a:pt x="6" y="10"/>
                    <a:pt x="6" y="10"/>
                  </a:cubicBezTo>
                  <a:lnTo>
                    <a:pt x="11" y="0"/>
                  </a:lnTo>
                  <a:close/>
                </a:path>
              </a:pathLst>
            </a:custGeom>
            <a:solidFill>
              <a:srgbClr val="CBA5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" name="Freeform 160"/>
            <p:cNvSpPr>
              <a:spLocks/>
            </p:cNvSpPr>
            <p:nvPr/>
          </p:nvSpPr>
          <p:spPr bwMode="auto">
            <a:xfrm>
              <a:off x="9734550" y="1187450"/>
              <a:ext cx="1652588" cy="1574800"/>
            </a:xfrm>
            <a:custGeom>
              <a:avLst/>
              <a:gdLst>
                <a:gd name="T0" fmla="*/ 0 w 1041"/>
                <a:gd name="T1" fmla="*/ 550 h 992"/>
                <a:gd name="T2" fmla="*/ 353 w 1041"/>
                <a:gd name="T3" fmla="*/ 0 h 992"/>
                <a:gd name="T4" fmla="*/ 1041 w 1041"/>
                <a:gd name="T5" fmla="*/ 442 h 992"/>
                <a:gd name="T6" fmla="*/ 689 w 1041"/>
                <a:gd name="T7" fmla="*/ 992 h 992"/>
                <a:gd name="T8" fmla="*/ 0 w 1041"/>
                <a:gd name="T9" fmla="*/ 550 h 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1" h="992">
                  <a:moveTo>
                    <a:pt x="0" y="550"/>
                  </a:moveTo>
                  <a:lnTo>
                    <a:pt x="353" y="0"/>
                  </a:lnTo>
                  <a:lnTo>
                    <a:pt x="1041" y="442"/>
                  </a:lnTo>
                  <a:lnTo>
                    <a:pt x="689" y="992"/>
                  </a:lnTo>
                  <a:lnTo>
                    <a:pt x="0" y="55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" name="Oval 161"/>
            <p:cNvSpPr>
              <a:spLocks noChangeArrowheads="1"/>
            </p:cNvSpPr>
            <p:nvPr/>
          </p:nvSpPr>
          <p:spPr bwMode="auto">
            <a:xfrm>
              <a:off x="9847263" y="1952625"/>
              <a:ext cx="134938" cy="134937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" name="Freeform 162"/>
            <p:cNvSpPr>
              <a:spLocks/>
            </p:cNvSpPr>
            <p:nvPr/>
          </p:nvSpPr>
          <p:spPr bwMode="auto">
            <a:xfrm>
              <a:off x="9869488" y="2009775"/>
              <a:ext cx="36513" cy="36512"/>
            </a:xfrm>
            <a:custGeom>
              <a:avLst/>
              <a:gdLst>
                <a:gd name="T0" fmla="*/ 32 w 45"/>
                <a:gd name="T1" fmla="*/ 6 h 45"/>
                <a:gd name="T2" fmla="*/ 39 w 45"/>
                <a:gd name="T3" fmla="*/ 33 h 45"/>
                <a:gd name="T4" fmla="*/ 12 w 45"/>
                <a:gd name="T5" fmla="*/ 40 h 45"/>
                <a:gd name="T6" fmla="*/ 5 w 45"/>
                <a:gd name="T7" fmla="*/ 13 h 45"/>
                <a:gd name="T8" fmla="*/ 32 w 45"/>
                <a:gd name="T9" fmla="*/ 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45">
                  <a:moveTo>
                    <a:pt x="32" y="6"/>
                  </a:moveTo>
                  <a:cubicBezTo>
                    <a:pt x="41" y="11"/>
                    <a:pt x="45" y="23"/>
                    <a:pt x="39" y="33"/>
                  </a:cubicBezTo>
                  <a:cubicBezTo>
                    <a:pt x="34" y="42"/>
                    <a:pt x="22" y="45"/>
                    <a:pt x="12" y="40"/>
                  </a:cubicBezTo>
                  <a:cubicBezTo>
                    <a:pt x="3" y="34"/>
                    <a:pt x="0" y="22"/>
                    <a:pt x="5" y="13"/>
                  </a:cubicBezTo>
                  <a:cubicBezTo>
                    <a:pt x="11" y="4"/>
                    <a:pt x="23" y="0"/>
                    <a:pt x="32" y="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" name="Freeform 163"/>
            <p:cNvSpPr>
              <a:spLocks/>
            </p:cNvSpPr>
            <p:nvPr/>
          </p:nvSpPr>
          <p:spPr bwMode="auto">
            <a:xfrm>
              <a:off x="9888538" y="1974850"/>
              <a:ext cx="36513" cy="36512"/>
            </a:xfrm>
            <a:custGeom>
              <a:avLst/>
              <a:gdLst>
                <a:gd name="T0" fmla="*/ 32 w 45"/>
                <a:gd name="T1" fmla="*/ 5 h 45"/>
                <a:gd name="T2" fmla="*/ 39 w 45"/>
                <a:gd name="T3" fmla="*/ 32 h 45"/>
                <a:gd name="T4" fmla="*/ 12 w 45"/>
                <a:gd name="T5" fmla="*/ 40 h 45"/>
                <a:gd name="T6" fmla="*/ 5 w 45"/>
                <a:gd name="T7" fmla="*/ 13 h 45"/>
                <a:gd name="T8" fmla="*/ 32 w 45"/>
                <a:gd name="T9" fmla="*/ 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45">
                  <a:moveTo>
                    <a:pt x="32" y="5"/>
                  </a:moveTo>
                  <a:cubicBezTo>
                    <a:pt x="42" y="11"/>
                    <a:pt x="45" y="23"/>
                    <a:pt x="39" y="32"/>
                  </a:cubicBezTo>
                  <a:cubicBezTo>
                    <a:pt x="34" y="42"/>
                    <a:pt x="22" y="45"/>
                    <a:pt x="12" y="40"/>
                  </a:cubicBezTo>
                  <a:cubicBezTo>
                    <a:pt x="3" y="34"/>
                    <a:pt x="0" y="22"/>
                    <a:pt x="5" y="13"/>
                  </a:cubicBezTo>
                  <a:cubicBezTo>
                    <a:pt x="11" y="3"/>
                    <a:pt x="23" y="0"/>
                    <a:pt x="32" y="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" name="Freeform 164"/>
            <p:cNvSpPr>
              <a:spLocks/>
            </p:cNvSpPr>
            <p:nvPr/>
          </p:nvSpPr>
          <p:spPr bwMode="auto">
            <a:xfrm>
              <a:off x="9906000" y="2030413"/>
              <a:ext cx="34925" cy="36512"/>
            </a:xfrm>
            <a:custGeom>
              <a:avLst/>
              <a:gdLst>
                <a:gd name="T0" fmla="*/ 32 w 45"/>
                <a:gd name="T1" fmla="*/ 6 h 45"/>
                <a:gd name="T2" fmla="*/ 39 w 45"/>
                <a:gd name="T3" fmla="*/ 33 h 45"/>
                <a:gd name="T4" fmla="*/ 12 w 45"/>
                <a:gd name="T5" fmla="*/ 40 h 45"/>
                <a:gd name="T6" fmla="*/ 5 w 45"/>
                <a:gd name="T7" fmla="*/ 13 h 45"/>
                <a:gd name="T8" fmla="*/ 32 w 45"/>
                <a:gd name="T9" fmla="*/ 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45">
                  <a:moveTo>
                    <a:pt x="32" y="6"/>
                  </a:moveTo>
                  <a:cubicBezTo>
                    <a:pt x="41" y="11"/>
                    <a:pt x="45" y="23"/>
                    <a:pt x="39" y="33"/>
                  </a:cubicBezTo>
                  <a:cubicBezTo>
                    <a:pt x="34" y="42"/>
                    <a:pt x="22" y="45"/>
                    <a:pt x="12" y="40"/>
                  </a:cubicBezTo>
                  <a:cubicBezTo>
                    <a:pt x="3" y="34"/>
                    <a:pt x="0" y="22"/>
                    <a:pt x="5" y="13"/>
                  </a:cubicBezTo>
                  <a:cubicBezTo>
                    <a:pt x="11" y="4"/>
                    <a:pt x="23" y="0"/>
                    <a:pt x="32" y="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" name="Freeform 165"/>
            <p:cNvSpPr>
              <a:spLocks/>
            </p:cNvSpPr>
            <p:nvPr/>
          </p:nvSpPr>
          <p:spPr bwMode="auto">
            <a:xfrm>
              <a:off x="9925050" y="1995488"/>
              <a:ext cx="36513" cy="36512"/>
            </a:xfrm>
            <a:custGeom>
              <a:avLst/>
              <a:gdLst>
                <a:gd name="T0" fmla="*/ 32 w 45"/>
                <a:gd name="T1" fmla="*/ 5 h 45"/>
                <a:gd name="T2" fmla="*/ 39 w 45"/>
                <a:gd name="T3" fmla="*/ 32 h 45"/>
                <a:gd name="T4" fmla="*/ 12 w 45"/>
                <a:gd name="T5" fmla="*/ 39 h 45"/>
                <a:gd name="T6" fmla="*/ 5 w 45"/>
                <a:gd name="T7" fmla="*/ 13 h 45"/>
                <a:gd name="T8" fmla="*/ 32 w 45"/>
                <a:gd name="T9" fmla="*/ 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45">
                  <a:moveTo>
                    <a:pt x="32" y="5"/>
                  </a:moveTo>
                  <a:cubicBezTo>
                    <a:pt x="41" y="11"/>
                    <a:pt x="45" y="23"/>
                    <a:pt x="39" y="32"/>
                  </a:cubicBezTo>
                  <a:cubicBezTo>
                    <a:pt x="34" y="42"/>
                    <a:pt x="22" y="45"/>
                    <a:pt x="12" y="39"/>
                  </a:cubicBezTo>
                  <a:cubicBezTo>
                    <a:pt x="3" y="34"/>
                    <a:pt x="0" y="22"/>
                    <a:pt x="5" y="13"/>
                  </a:cubicBezTo>
                  <a:cubicBezTo>
                    <a:pt x="11" y="3"/>
                    <a:pt x="23" y="0"/>
                    <a:pt x="32" y="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" name="Freeform 166"/>
            <p:cNvSpPr>
              <a:spLocks/>
            </p:cNvSpPr>
            <p:nvPr/>
          </p:nvSpPr>
          <p:spPr bwMode="auto">
            <a:xfrm>
              <a:off x="9786938" y="1179513"/>
              <a:ext cx="2460620" cy="2619375"/>
            </a:xfrm>
            <a:custGeom>
              <a:avLst/>
              <a:gdLst>
                <a:gd name="T0" fmla="*/ 0 w 1968"/>
                <a:gd name="T1" fmla="*/ 656 h 1650"/>
                <a:gd name="T2" fmla="*/ 421 w 1968"/>
                <a:gd name="T3" fmla="*/ 0 h 1650"/>
                <a:gd name="T4" fmla="*/ 1968 w 1968"/>
                <a:gd name="T5" fmla="*/ 994 h 1650"/>
                <a:gd name="T6" fmla="*/ 1547 w 1968"/>
                <a:gd name="T7" fmla="*/ 1650 h 1650"/>
                <a:gd name="T8" fmla="*/ 0 w 1968"/>
                <a:gd name="T9" fmla="*/ 656 h 1650"/>
                <a:gd name="connsiteX0" fmla="*/ 0 w 7876"/>
                <a:gd name="connsiteY0" fmla="*/ 3976 h 10000"/>
                <a:gd name="connsiteX1" fmla="*/ 2139 w 7876"/>
                <a:gd name="connsiteY1" fmla="*/ 0 h 10000"/>
                <a:gd name="connsiteX2" fmla="*/ 7876 w 7876"/>
                <a:gd name="connsiteY2" fmla="*/ 4427 h 10000"/>
                <a:gd name="connsiteX3" fmla="*/ 7861 w 7876"/>
                <a:gd name="connsiteY3" fmla="*/ 10000 h 10000"/>
                <a:gd name="connsiteX4" fmla="*/ 0 w 7876"/>
                <a:gd name="connsiteY4" fmla="*/ 3976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76" h="10000">
                  <a:moveTo>
                    <a:pt x="0" y="3976"/>
                  </a:moveTo>
                  <a:lnTo>
                    <a:pt x="2139" y="0"/>
                  </a:lnTo>
                  <a:lnTo>
                    <a:pt x="7876" y="4427"/>
                  </a:lnTo>
                  <a:cubicBezTo>
                    <a:pt x="7871" y="6285"/>
                    <a:pt x="7866" y="8142"/>
                    <a:pt x="7861" y="10000"/>
                  </a:cubicBezTo>
                  <a:lnTo>
                    <a:pt x="0" y="397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9" name="Group 1">
            <a:extLst>
              <a:ext uri="{FF2B5EF4-FFF2-40B4-BE49-F238E27FC236}">
                <a16:creationId xmlns:a16="http://schemas.microsoft.com/office/drawing/2014/main" xmlns="" id="{B6E01869-3EF3-45FB-8B65-3FD7A0BD4DC9}"/>
              </a:ext>
            </a:extLst>
          </p:cNvPr>
          <p:cNvGrpSpPr/>
          <p:nvPr/>
        </p:nvGrpSpPr>
        <p:grpSpPr>
          <a:xfrm>
            <a:off x="6282229" y="3532666"/>
            <a:ext cx="341760" cy="331544"/>
            <a:chOff x="6282229" y="3424514"/>
            <a:chExt cx="341760" cy="331544"/>
          </a:xfrm>
        </p:grpSpPr>
        <p:sp>
          <p:nvSpPr>
            <p:cNvPr id="270" name="Oval 3"/>
            <p:cNvSpPr/>
            <p:nvPr/>
          </p:nvSpPr>
          <p:spPr>
            <a:xfrm>
              <a:off x="6282760" y="3424514"/>
              <a:ext cx="331544" cy="331544"/>
            </a:xfrm>
            <a:prstGeom prst="ellipse">
              <a:avLst/>
            </a:prstGeom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  <p:sp>
          <p:nvSpPr>
            <p:cNvPr id="272" name="TextBox 271">
              <a:extLst>
                <a:ext uri="{FF2B5EF4-FFF2-40B4-BE49-F238E27FC236}">
                  <a16:creationId xmlns:a16="http://schemas.microsoft.com/office/drawing/2014/main" xmlns="" id="{4709C9B2-6A89-41BE-8AE0-4648E4386EE6}"/>
                </a:ext>
              </a:extLst>
            </p:cNvPr>
            <p:cNvSpPr txBox="1"/>
            <p:nvPr/>
          </p:nvSpPr>
          <p:spPr>
            <a:xfrm>
              <a:off x="6282229" y="3451861"/>
              <a:ext cx="34176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 dirty="0">
                  <a:solidFill>
                    <a:schemeClr val="bg1"/>
                  </a:solidFill>
                </a:rPr>
                <a:t>01</a:t>
              </a:r>
            </a:p>
          </p:txBody>
        </p:sp>
      </p:grpSp>
      <p:grpSp>
        <p:nvGrpSpPr>
          <p:cNvPr id="273" name="Group 2">
            <a:extLst>
              <a:ext uri="{FF2B5EF4-FFF2-40B4-BE49-F238E27FC236}">
                <a16:creationId xmlns:a16="http://schemas.microsoft.com/office/drawing/2014/main" xmlns="" id="{980562A7-8C52-4E3A-8B1C-CAF2225A9D8E}"/>
              </a:ext>
            </a:extLst>
          </p:cNvPr>
          <p:cNvGrpSpPr/>
          <p:nvPr/>
        </p:nvGrpSpPr>
        <p:grpSpPr>
          <a:xfrm>
            <a:off x="7486004" y="3626308"/>
            <a:ext cx="341760" cy="331544"/>
            <a:chOff x="7486004" y="3518156"/>
            <a:chExt cx="341760" cy="331544"/>
          </a:xfrm>
        </p:grpSpPr>
        <p:sp>
          <p:nvSpPr>
            <p:cNvPr id="274" name="Oval 168"/>
            <p:cNvSpPr/>
            <p:nvPr/>
          </p:nvSpPr>
          <p:spPr>
            <a:xfrm>
              <a:off x="7492132" y="3518156"/>
              <a:ext cx="331544" cy="331544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275" name="TextBox 274">
              <a:extLst>
                <a:ext uri="{FF2B5EF4-FFF2-40B4-BE49-F238E27FC236}">
                  <a16:creationId xmlns:a16="http://schemas.microsoft.com/office/drawing/2014/main" xmlns="" id="{D24287F7-016D-4514-BE20-8691F59082E2}"/>
                </a:ext>
              </a:extLst>
            </p:cNvPr>
            <p:cNvSpPr txBox="1"/>
            <p:nvPr/>
          </p:nvSpPr>
          <p:spPr>
            <a:xfrm>
              <a:off x="7486004" y="3547691"/>
              <a:ext cx="34176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 dirty="0">
                  <a:solidFill>
                    <a:schemeClr val="bg1"/>
                  </a:solidFill>
                </a:rPr>
                <a:t>02</a:t>
              </a:r>
            </a:p>
          </p:txBody>
        </p:sp>
      </p:grpSp>
      <p:grpSp>
        <p:nvGrpSpPr>
          <p:cNvPr id="276" name="Group 4">
            <a:extLst>
              <a:ext uri="{FF2B5EF4-FFF2-40B4-BE49-F238E27FC236}">
                <a16:creationId xmlns:a16="http://schemas.microsoft.com/office/drawing/2014/main" xmlns="" id="{63DEEC7D-6681-47D8-A395-806CC249BD26}"/>
              </a:ext>
            </a:extLst>
          </p:cNvPr>
          <p:cNvGrpSpPr/>
          <p:nvPr/>
        </p:nvGrpSpPr>
        <p:grpSpPr>
          <a:xfrm>
            <a:off x="8323796" y="3963715"/>
            <a:ext cx="341760" cy="331544"/>
            <a:chOff x="8323796" y="3855563"/>
            <a:chExt cx="341760" cy="331544"/>
          </a:xfrm>
        </p:grpSpPr>
        <p:sp>
          <p:nvSpPr>
            <p:cNvPr id="277" name="Oval 171"/>
            <p:cNvSpPr/>
            <p:nvPr/>
          </p:nvSpPr>
          <p:spPr>
            <a:xfrm>
              <a:off x="8325834" y="3855563"/>
              <a:ext cx="331544" cy="331544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278" name="TextBox 277">
              <a:extLst>
                <a:ext uri="{FF2B5EF4-FFF2-40B4-BE49-F238E27FC236}">
                  <a16:creationId xmlns:a16="http://schemas.microsoft.com/office/drawing/2014/main" xmlns="" id="{DF296C9E-24FE-4760-8FEA-9F53E4026D09}"/>
                </a:ext>
              </a:extLst>
            </p:cNvPr>
            <p:cNvSpPr txBox="1"/>
            <p:nvPr/>
          </p:nvSpPr>
          <p:spPr>
            <a:xfrm>
              <a:off x="8323796" y="3874827"/>
              <a:ext cx="34176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 dirty="0">
                  <a:solidFill>
                    <a:schemeClr val="bg1"/>
                  </a:solidFill>
                </a:rPr>
                <a:t>03</a:t>
              </a:r>
            </a:p>
          </p:txBody>
        </p:sp>
      </p:grpSp>
      <p:grpSp>
        <p:nvGrpSpPr>
          <p:cNvPr id="279" name="Group 11">
            <a:extLst>
              <a:ext uri="{FF2B5EF4-FFF2-40B4-BE49-F238E27FC236}">
                <a16:creationId xmlns:a16="http://schemas.microsoft.com/office/drawing/2014/main" xmlns="" id="{CC00CEBD-06F8-4B59-8DE2-3B1EF4CAB23A}"/>
              </a:ext>
            </a:extLst>
          </p:cNvPr>
          <p:cNvGrpSpPr/>
          <p:nvPr/>
        </p:nvGrpSpPr>
        <p:grpSpPr>
          <a:xfrm>
            <a:off x="9159015" y="3626308"/>
            <a:ext cx="344755" cy="331544"/>
            <a:chOff x="9159015" y="3518156"/>
            <a:chExt cx="344755" cy="331544"/>
          </a:xfrm>
        </p:grpSpPr>
        <p:sp>
          <p:nvSpPr>
            <p:cNvPr id="280" name="Oval 169"/>
            <p:cNvSpPr/>
            <p:nvPr/>
          </p:nvSpPr>
          <p:spPr>
            <a:xfrm>
              <a:off x="9159015" y="3518156"/>
              <a:ext cx="331544" cy="331544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281" name="TextBox 280">
              <a:extLst>
                <a:ext uri="{FF2B5EF4-FFF2-40B4-BE49-F238E27FC236}">
                  <a16:creationId xmlns:a16="http://schemas.microsoft.com/office/drawing/2014/main" xmlns="" id="{663089F7-F1D7-469E-A856-462E0861C9D9}"/>
                </a:ext>
              </a:extLst>
            </p:cNvPr>
            <p:cNvSpPr txBox="1"/>
            <p:nvPr/>
          </p:nvSpPr>
          <p:spPr>
            <a:xfrm>
              <a:off x="9162010" y="3544343"/>
              <a:ext cx="34176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 dirty="0">
                  <a:solidFill>
                    <a:schemeClr val="bg1"/>
                  </a:solidFill>
                </a:rPr>
                <a:t>04</a:t>
              </a:r>
            </a:p>
          </p:txBody>
        </p:sp>
      </p:grpSp>
      <p:grpSp>
        <p:nvGrpSpPr>
          <p:cNvPr id="282" name="Group 22">
            <a:extLst>
              <a:ext uri="{FF2B5EF4-FFF2-40B4-BE49-F238E27FC236}">
                <a16:creationId xmlns:a16="http://schemas.microsoft.com/office/drawing/2014/main" xmlns="" id="{93E9AACB-D3BD-4DDA-A122-055EFE61E15A}"/>
              </a:ext>
            </a:extLst>
          </p:cNvPr>
          <p:cNvGrpSpPr/>
          <p:nvPr/>
        </p:nvGrpSpPr>
        <p:grpSpPr>
          <a:xfrm>
            <a:off x="10364838" y="3533796"/>
            <a:ext cx="343600" cy="331544"/>
            <a:chOff x="10364838" y="3425644"/>
            <a:chExt cx="343600" cy="331544"/>
          </a:xfrm>
        </p:grpSpPr>
        <p:sp>
          <p:nvSpPr>
            <p:cNvPr id="283" name="Oval 170"/>
            <p:cNvSpPr/>
            <p:nvPr/>
          </p:nvSpPr>
          <p:spPr>
            <a:xfrm>
              <a:off x="10364838" y="3425644"/>
              <a:ext cx="331544" cy="331544"/>
            </a:xfrm>
            <a:prstGeom prst="ellipse">
              <a:avLst/>
            </a:prstGeom>
            <a:solidFill>
              <a:schemeClr val="accent5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284" name="TextBox 283">
              <a:extLst>
                <a:ext uri="{FF2B5EF4-FFF2-40B4-BE49-F238E27FC236}">
                  <a16:creationId xmlns:a16="http://schemas.microsoft.com/office/drawing/2014/main" xmlns="" id="{A9804A30-AF20-4960-9A8C-CD6762FD323F}"/>
                </a:ext>
              </a:extLst>
            </p:cNvPr>
            <p:cNvSpPr txBox="1"/>
            <p:nvPr/>
          </p:nvSpPr>
          <p:spPr>
            <a:xfrm>
              <a:off x="10366678" y="3460706"/>
              <a:ext cx="34176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 dirty="0">
                  <a:solidFill>
                    <a:schemeClr val="bg1"/>
                  </a:solidFill>
                </a:rPr>
                <a:t>05</a:t>
              </a:r>
            </a:p>
          </p:txBody>
        </p:sp>
      </p:grpSp>
      <p:sp>
        <p:nvSpPr>
          <p:cNvPr id="285" name="Freeform 145">
            <a:extLst>
              <a:ext uri="{FF2B5EF4-FFF2-40B4-BE49-F238E27FC236}">
                <a16:creationId xmlns:a16="http://schemas.microsoft.com/office/drawing/2014/main" xmlns="" id="{85E0DD09-FC0F-42D0-B577-A13CB5B65489}"/>
              </a:ext>
            </a:extLst>
          </p:cNvPr>
          <p:cNvSpPr>
            <a:spLocks noEditPoints="1"/>
          </p:cNvSpPr>
          <p:nvPr/>
        </p:nvSpPr>
        <p:spPr bwMode="auto">
          <a:xfrm>
            <a:off x="7181591" y="4967621"/>
            <a:ext cx="254710" cy="257112"/>
          </a:xfrm>
          <a:custGeom>
            <a:avLst/>
            <a:gdLst>
              <a:gd name="T0" fmla="*/ 43 w 98"/>
              <a:gd name="T1" fmla="*/ 76 h 99"/>
              <a:gd name="T2" fmla="*/ 40 w 98"/>
              <a:gd name="T3" fmla="*/ 70 h 99"/>
              <a:gd name="T4" fmla="*/ 37 w 98"/>
              <a:gd name="T5" fmla="*/ 74 h 99"/>
              <a:gd name="T6" fmla="*/ 35 w 98"/>
              <a:gd name="T7" fmla="*/ 76 h 99"/>
              <a:gd name="T8" fmla="*/ 32 w 98"/>
              <a:gd name="T9" fmla="*/ 75 h 99"/>
              <a:gd name="T10" fmla="*/ 2 w 98"/>
              <a:gd name="T11" fmla="*/ 45 h 99"/>
              <a:gd name="T12" fmla="*/ 7 w 98"/>
              <a:gd name="T13" fmla="*/ 10 h 99"/>
              <a:gd name="T14" fmla="*/ 40 w 98"/>
              <a:gd name="T15" fmla="*/ 26 h 99"/>
              <a:gd name="T16" fmla="*/ 71 w 98"/>
              <a:gd name="T17" fmla="*/ 0 h 99"/>
              <a:gd name="T18" fmla="*/ 48 w 98"/>
              <a:gd name="T19" fmla="*/ 79 h 99"/>
              <a:gd name="T20" fmla="*/ 35 w 98"/>
              <a:gd name="T21" fmla="*/ 99 h 99"/>
              <a:gd name="T22" fmla="*/ 29 w 98"/>
              <a:gd name="T23" fmla="*/ 95 h 99"/>
              <a:gd name="T24" fmla="*/ 43 w 98"/>
              <a:gd name="T25" fmla="*/ 76 h 99"/>
              <a:gd name="T26" fmla="*/ 47 w 98"/>
              <a:gd name="T27" fmla="*/ 57 h 99"/>
              <a:gd name="T28" fmla="*/ 50 w 98"/>
              <a:gd name="T29" fmla="*/ 63 h 99"/>
              <a:gd name="T30" fmla="*/ 65 w 98"/>
              <a:gd name="T31" fmla="*/ 18 h 99"/>
              <a:gd name="T32" fmla="*/ 47 w 98"/>
              <a:gd name="T33" fmla="*/ 32 h 99"/>
              <a:gd name="T34" fmla="*/ 46 w 98"/>
              <a:gd name="T35" fmla="*/ 34 h 99"/>
              <a:gd name="T36" fmla="*/ 47 w 98"/>
              <a:gd name="T37" fmla="*/ 57 h 99"/>
              <a:gd name="T38" fmla="*/ 28 w 98"/>
              <a:gd name="T39" fmla="*/ 63 h 99"/>
              <a:gd name="T40" fmla="*/ 16 w 98"/>
              <a:gd name="T41" fmla="*/ 24 h 99"/>
              <a:gd name="T42" fmla="*/ 16 w 98"/>
              <a:gd name="T43" fmla="*/ 24 h 99"/>
              <a:gd name="T44" fmla="*/ 33 w 98"/>
              <a:gd name="T45" fmla="*/ 61 h 99"/>
              <a:gd name="T46" fmla="*/ 13 w 98"/>
              <a:gd name="T47" fmla="*/ 21 h 99"/>
              <a:gd name="T48" fmla="*/ 10 w 98"/>
              <a:gd name="T49" fmla="*/ 44 h 99"/>
              <a:gd name="T50" fmla="*/ 28 w 98"/>
              <a:gd name="T51" fmla="*/ 63 h 99"/>
              <a:gd name="T52" fmla="*/ 55 w 98"/>
              <a:gd name="T53" fmla="*/ 64 h 99"/>
              <a:gd name="T54" fmla="*/ 68 w 98"/>
              <a:gd name="T55" fmla="*/ 18 h 99"/>
              <a:gd name="T56" fmla="*/ 55 w 98"/>
              <a:gd name="T57" fmla="*/ 64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98" h="99">
                <a:moveTo>
                  <a:pt x="43" y="76"/>
                </a:moveTo>
                <a:cubicBezTo>
                  <a:pt x="42" y="75"/>
                  <a:pt x="41" y="73"/>
                  <a:pt x="40" y="70"/>
                </a:cubicBezTo>
                <a:cubicBezTo>
                  <a:pt x="39" y="71"/>
                  <a:pt x="38" y="73"/>
                  <a:pt x="37" y="74"/>
                </a:cubicBezTo>
                <a:cubicBezTo>
                  <a:pt x="35" y="76"/>
                  <a:pt x="35" y="76"/>
                  <a:pt x="35" y="76"/>
                </a:cubicBezTo>
                <a:cubicBezTo>
                  <a:pt x="32" y="75"/>
                  <a:pt x="32" y="75"/>
                  <a:pt x="32" y="75"/>
                </a:cubicBezTo>
                <a:cubicBezTo>
                  <a:pt x="25" y="72"/>
                  <a:pt x="4" y="62"/>
                  <a:pt x="2" y="45"/>
                </a:cubicBezTo>
                <a:cubicBezTo>
                  <a:pt x="0" y="28"/>
                  <a:pt x="10" y="19"/>
                  <a:pt x="7" y="10"/>
                </a:cubicBezTo>
                <a:cubicBezTo>
                  <a:pt x="21" y="13"/>
                  <a:pt x="33" y="19"/>
                  <a:pt x="40" y="26"/>
                </a:cubicBezTo>
                <a:cubicBezTo>
                  <a:pt x="52" y="11"/>
                  <a:pt x="67" y="11"/>
                  <a:pt x="71" y="0"/>
                </a:cubicBezTo>
                <a:cubicBezTo>
                  <a:pt x="98" y="38"/>
                  <a:pt x="94" y="74"/>
                  <a:pt x="48" y="79"/>
                </a:cubicBezTo>
                <a:cubicBezTo>
                  <a:pt x="44" y="86"/>
                  <a:pt x="40" y="93"/>
                  <a:pt x="35" y="99"/>
                </a:cubicBezTo>
                <a:cubicBezTo>
                  <a:pt x="29" y="95"/>
                  <a:pt x="29" y="95"/>
                  <a:pt x="29" y="95"/>
                </a:cubicBezTo>
                <a:cubicBezTo>
                  <a:pt x="34" y="89"/>
                  <a:pt x="39" y="83"/>
                  <a:pt x="43" y="76"/>
                </a:cubicBezTo>
                <a:close/>
                <a:moveTo>
                  <a:pt x="47" y="57"/>
                </a:moveTo>
                <a:cubicBezTo>
                  <a:pt x="48" y="60"/>
                  <a:pt x="49" y="62"/>
                  <a:pt x="50" y="63"/>
                </a:cubicBezTo>
                <a:cubicBezTo>
                  <a:pt x="56" y="49"/>
                  <a:pt x="61" y="33"/>
                  <a:pt x="65" y="18"/>
                </a:cubicBezTo>
                <a:cubicBezTo>
                  <a:pt x="61" y="22"/>
                  <a:pt x="53" y="24"/>
                  <a:pt x="47" y="32"/>
                </a:cubicBezTo>
                <a:cubicBezTo>
                  <a:pt x="47" y="33"/>
                  <a:pt x="46" y="33"/>
                  <a:pt x="46" y="34"/>
                </a:cubicBezTo>
                <a:cubicBezTo>
                  <a:pt x="50" y="41"/>
                  <a:pt x="50" y="49"/>
                  <a:pt x="47" y="57"/>
                </a:cubicBezTo>
                <a:close/>
                <a:moveTo>
                  <a:pt x="28" y="63"/>
                </a:moveTo>
                <a:cubicBezTo>
                  <a:pt x="25" y="49"/>
                  <a:pt x="22" y="36"/>
                  <a:pt x="16" y="24"/>
                </a:cubicBezTo>
                <a:cubicBezTo>
                  <a:pt x="16" y="24"/>
                  <a:pt x="16" y="24"/>
                  <a:pt x="16" y="24"/>
                </a:cubicBezTo>
                <a:cubicBezTo>
                  <a:pt x="22" y="33"/>
                  <a:pt x="29" y="46"/>
                  <a:pt x="33" y="61"/>
                </a:cubicBezTo>
                <a:cubicBezTo>
                  <a:pt x="47" y="44"/>
                  <a:pt x="38" y="27"/>
                  <a:pt x="13" y="21"/>
                </a:cubicBezTo>
                <a:cubicBezTo>
                  <a:pt x="15" y="27"/>
                  <a:pt x="9" y="33"/>
                  <a:pt x="10" y="44"/>
                </a:cubicBezTo>
                <a:cubicBezTo>
                  <a:pt x="11" y="56"/>
                  <a:pt x="24" y="61"/>
                  <a:pt x="28" y="63"/>
                </a:cubicBezTo>
                <a:close/>
                <a:moveTo>
                  <a:pt x="55" y="64"/>
                </a:moveTo>
                <a:cubicBezTo>
                  <a:pt x="80" y="60"/>
                  <a:pt x="83" y="40"/>
                  <a:pt x="68" y="18"/>
                </a:cubicBezTo>
                <a:cubicBezTo>
                  <a:pt x="67" y="31"/>
                  <a:pt x="62" y="48"/>
                  <a:pt x="55" y="6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286" name="Freeform 154">
            <a:extLst>
              <a:ext uri="{FF2B5EF4-FFF2-40B4-BE49-F238E27FC236}">
                <a16:creationId xmlns:a16="http://schemas.microsoft.com/office/drawing/2014/main" xmlns="" id="{06A5C907-90BC-47B8-ACB4-5C9D5FE96316}"/>
              </a:ext>
            </a:extLst>
          </p:cNvPr>
          <p:cNvSpPr>
            <a:spLocks noEditPoints="1"/>
          </p:cNvSpPr>
          <p:nvPr/>
        </p:nvSpPr>
        <p:spPr bwMode="auto">
          <a:xfrm>
            <a:off x="5961519" y="4948641"/>
            <a:ext cx="235486" cy="241494"/>
          </a:xfrm>
          <a:custGeom>
            <a:avLst/>
            <a:gdLst>
              <a:gd name="T0" fmla="*/ 80 w 91"/>
              <a:gd name="T1" fmla="*/ 44 h 93"/>
              <a:gd name="T2" fmla="*/ 87 w 91"/>
              <a:gd name="T3" fmla="*/ 37 h 93"/>
              <a:gd name="T4" fmla="*/ 87 w 91"/>
              <a:gd name="T5" fmla="*/ 23 h 93"/>
              <a:gd name="T6" fmla="*/ 68 w 91"/>
              <a:gd name="T7" fmla="*/ 4 h 93"/>
              <a:gd name="T8" fmla="*/ 54 w 91"/>
              <a:gd name="T9" fmla="*/ 4 h 93"/>
              <a:gd name="T10" fmla="*/ 47 w 91"/>
              <a:gd name="T11" fmla="*/ 11 h 93"/>
              <a:gd name="T12" fmla="*/ 80 w 91"/>
              <a:gd name="T13" fmla="*/ 44 h 93"/>
              <a:gd name="T14" fmla="*/ 52 w 91"/>
              <a:gd name="T15" fmla="*/ 23 h 93"/>
              <a:gd name="T16" fmla="*/ 68 w 91"/>
              <a:gd name="T17" fmla="*/ 39 h 93"/>
              <a:gd name="T18" fmla="*/ 77 w 91"/>
              <a:gd name="T19" fmla="*/ 48 h 93"/>
              <a:gd name="T20" fmla="*/ 43 w 91"/>
              <a:gd name="T21" fmla="*/ 81 h 93"/>
              <a:gd name="T22" fmla="*/ 34 w 91"/>
              <a:gd name="T23" fmla="*/ 73 h 93"/>
              <a:gd name="T24" fmla="*/ 19 w 91"/>
              <a:gd name="T25" fmla="*/ 59 h 93"/>
              <a:gd name="T26" fmla="*/ 41 w 91"/>
              <a:gd name="T27" fmla="*/ 37 h 93"/>
              <a:gd name="T28" fmla="*/ 39 w 91"/>
              <a:gd name="T29" fmla="*/ 34 h 93"/>
              <a:gd name="T30" fmla="*/ 16 w 91"/>
              <a:gd name="T31" fmla="*/ 57 h 93"/>
              <a:gd name="T32" fmla="*/ 10 w 91"/>
              <a:gd name="T33" fmla="*/ 48 h 93"/>
              <a:gd name="T34" fmla="*/ 43 w 91"/>
              <a:gd name="T35" fmla="*/ 14 h 93"/>
              <a:gd name="T36" fmla="*/ 52 w 91"/>
              <a:gd name="T37" fmla="*/ 23 h 93"/>
              <a:gd name="T38" fmla="*/ 4 w 91"/>
              <a:gd name="T39" fmla="*/ 69 h 93"/>
              <a:gd name="T40" fmla="*/ 0 w 91"/>
              <a:gd name="T41" fmla="*/ 86 h 93"/>
              <a:gd name="T42" fmla="*/ 6 w 91"/>
              <a:gd name="T43" fmla="*/ 93 h 93"/>
              <a:gd name="T44" fmla="*/ 24 w 91"/>
              <a:gd name="T45" fmla="*/ 89 h 93"/>
              <a:gd name="T46" fmla="*/ 4 w 91"/>
              <a:gd name="T47" fmla="*/ 69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91" h="93">
                <a:moveTo>
                  <a:pt x="80" y="44"/>
                </a:moveTo>
                <a:cubicBezTo>
                  <a:pt x="87" y="37"/>
                  <a:pt x="87" y="37"/>
                  <a:pt x="87" y="37"/>
                </a:cubicBezTo>
                <a:cubicBezTo>
                  <a:pt x="91" y="33"/>
                  <a:pt x="91" y="27"/>
                  <a:pt x="87" y="23"/>
                </a:cubicBezTo>
                <a:cubicBezTo>
                  <a:pt x="68" y="4"/>
                  <a:pt x="68" y="4"/>
                  <a:pt x="68" y="4"/>
                </a:cubicBezTo>
                <a:cubicBezTo>
                  <a:pt x="64" y="0"/>
                  <a:pt x="58" y="0"/>
                  <a:pt x="54" y="4"/>
                </a:cubicBezTo>
                <a:cubicBezTo>
                  <a:pt x="47" y="11"/>
                  <a:pt x="47" y="11"/>
                  <a:pt x="47" y="11"/>
                </a:cubicBezTo>
                <a:cubicBezTo>
                  <a:pt x="80" y="44"/>
                  <a:pt x="80" y="44"/>
                  <a:pt x="80" y="44"/>
                </a:cubicBezTo>
                <a:close/>
                <a:moveTo>
                  <a:pt x="52" y="23"/>
                </a:moveTo>
                <a:cubicBezTo>
                  <a:pt x="68" y="39"/>
                  <a:pt x="68" y="39"/>
                  <a:pt x="68" y="39"/>
                </a:cubicBezTo>
                <a:cubicBezTo>
                  <a:pt x="77" y="48"/>
                  <a:pt x="77" y="48"/>
                  <a:pt x="77" y="48"/>
                </a:cubicBezTo>
                <a:cubicBezTo>
                  <a:pt x="43" y="81"/>
                  <a:pt x="43" y="81"/>
                  <a:pt x="43" y="81"/>
                </a:cubicBezTo>
                <a:cubicBezTo>
                  <a:pt x="35" y="83"/>
                  <a:pt x="33" y="79"/>
                  <a:pt x="34" y="73"/>
                </a:cubicBezTo>
                <a:cubicBezTo>
                  <a:pt x="26" y="72"/>
                  <a:pt x="20" y="68"/>
                  <a:pt x="19" y="59"/>
                </a:cubicBezTo>
                <a:cubicBezTo>
                  <a:pt x="41" y="37"/>
                  <a:pt x="41" y="37"/>
                  <a:pt x="41" y="37"/>
                </a:cubicBezTo>
                <a:cubicBezTo>
                  <a:pt x="39" y="34"/>
                  <a:pt x="39" y="34"/>
                  <a:pt x="39" y="34"/>
                </a:cubicBezTo>
                <a:cubicBezTo>
                  <a:pt x="16" y="57"/>
                  <a:pt x="16" y="57"/>
                  <a:pt x="16" y="57"/>
                </a:cubicBezTo>
                <a:cubicBezTo>
                  <a:pt x="10" y="58"/>
                  <a:pt x="9" y="54"/>
                  <a:pt x="10" y="48"/>
                </a:cubicBezTo>
                <a:cubicBezTo>
                  <a:pt x="21" y="37"/>
                  <a:pt x="32" y="26"/>
                  <a:pt x="43" y="14"/>
                </a:cubicBezTo>
                <a:cubicBezTo>
                  <a:pt x="52" y="23"/>
                  <a:pt x="52" y="23"/>
                  <a:pt x="52" y="23"/>
                </a:cubicBezTo>
                <a:close/>
                <a:moveTo>
                  <a:pt x="4" y="69"/>
                </a:moveTo>
                <a:cubicBezTo>
                  <a:pt x="0" y="86"/>
                  <a:pt x="0" y="86"/>
                  <a:pt x="0" y="86"/>
                </a:cubicBezTo>
                <a:cubicBezTo>
                  <a:pt x="6" y="93"/>
                  <a:pt x="6" y="93"/>
                  <a:pt x="6" y="93"/>
                </a:cubicBezTo>
                <a:cubicBezTo>
                  <a:pt x="24" y="89"/>
                  <a:pt x="24" y="89"/>
                  <a:pt x="24" y="89"/>
                </a:cubicBezTo>
                <a:lnTo>
                  <a:pt x="4" y="6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287" name="Freeform 162">
            <a:extLst>
              <a:ext uri="{FF2B5EF4-FFF2-40B4-BE49-F238E27FC236}">
                <a16:creationId xmlns:a16="http://schemas.microsoft.com/office/drawing/2014/main" xmlns="" id="{6A122CE8-9B24-4898-A26E-7C612FA958BF}"/>
              </a:ext>
            </a:extLst>
          </p:cNvPr>
          <p:cNvSpPr>
            <a:spLocks noEditPoints="1"/>
          </p:cNvSpPr>
          <p:nvPr/>
        </p:nvSpPr>
        <p:spPr bwMode="auto">
          <a:xfrm>
            <a:off x="8370612" y="4953861"/>
            <a:ext cx="246298" cy="240291"/>
          </a:xfrm>
          <a:custGeom>
            <a:avLst/>
            <a:gdLst>
              <a:gd name="T0" fmla="*/ 85 w 95"/>
              <a:gd name="T1" fmla="*/ 25 h 93"/>
              <a:gd name="T2" fmla="*/ 86 w 95"/>
              <a:gd name="T3" fmla="*/ 22 h 93"/>
              <a:gd name="T4" fmla="*/ 86 w 95"/>
              <a:gd name="T5" fmla="*/ 13 h 93"/>
              <a:gd name="T6" fmla="*/ 80 w 95"/>
              <a:gd name="T7" fmla="*/ 8 h 93"/>
              <a:gd name="T8" fmla="*/ 36 w 95"/>
              <a:gd name="T9" fmla="*/ 11 h 93"/>
              <a:gd name="T10" fmla="*/ 36 w 95"/>
              <a:gd name="T11" fmla="*/ 24 h 93"/>
              <a:gd name="T12" fmla="*/ 80 w 95"/>
              <a:gd name="T13" fmla="*/ 25 h 93"/>
              <a:gd name="T14" fmla="*/ 35 w 95"/>
              <a:gd name="T15" fmla="*/ 62 h 93"/>
              <a:gd name="T16" fmla="*/ 66 w 95"/>
              <a:gd name="T17" fmla="*/ 72 h 93"/>
              <a:gd name="T18" fmla="*/ 55 w 95"/>
              <a:gd name="T19" fmla="*/ 45 h 93"/>
              <a:gd name="T20" fmla="*/ 70 w 95"/>
              <a:gd name="T21" fmla="*/ 66 h 93"/>
              <a:gd name="T22" fmla="*/ 62 w 95"/>
              <a:gd name="T23" fmla="*/ 59 h 93"/>
              <a:gd name="T24" fmla="*/ 70 w 95"/>
              <a:gd name="T25" fmla="*/ 66 h 93"/>
              <a:gd name="T26" fmla="*/ 70 w 95"/>
              <a:gd name="T27" fmla="*/ 67 h 93"/>
              <a:gd name="T28" fmla="*/ 60 w 95"/>
              <a:gd name="T29" fmla="*/ 60 h 93"/>
              <a:gd name="T30" fmla="*/ 70 w 95"/>
              <a:gd name="T31" fmla="*/ 55 h 93"/>
              <a:gd name="T32" fmla="*/ 70 w 95"/>
              <a:gd name="T33" fmla="*/ 54 h 93"/>
              <a:gd name="T34" fmla="*/ 68 w 95"/>
              <a:gd name="T35" fmla="*/ 55 h 93"/>
              <a:gd name="T36" fmla="*/ 71 w 95"/>
              <a:gd name="T37" fmla="*/ 58 h 93"/>
              <a:gd name="T38" fmla="*/ 68 w 95"/>
              <a:gd name="T39" fmla="*/ 55 h 93"/>
              <a:gd name="T40" fmla="*/ 71 w 95"/>
              <a:gd name="T41" fmla="*/ 59 h 93"/>
              <a:gd name="T42" fmla="*/ 66 w 95"/>
              <a:gd name="T43" fmla="*/ 56 h 93"/>
              <a:gd name="T44" fmla="*/ 65 w 95"/>
              <a:gd name="T45" fmla="*/ 57 h 93"/>
              <a:gd name="T46" fmla="*/ 71 w 95"/>
              <a:gd name="T47" fmla="*/ 62 h 93"/>
              <a:gd name="T48" fmla="*/ 65 w 95"/>
              <a:gd name="T49" fmla="*/ 57 h 93"/>
              <a:gd name="T50" fmla="*/ 71 w 95"/>
              <a:gd name="T51" fmla="*/ 64 h 93"/>
              <a:gd name="T52" fmla="*/ 63 w 95"/>
              <a:gd name="T53" fmla="*/ 58 h 93"/>
              <a:gd name="T54" fmla="*/ 71 w 95"/>
              <a:gd name="T55" fmla="*/ 46 h 93"/>
              <a:gd name="T56" fmla="*/ 70 w 95"/>
              <a:gd name="T57" fmla="*/ 48 h 93"/>
              <a:gd name="T58" fmla="*/ 56 w 95"/>
              <a:gd name="T59" fmla="*/ 57 h 93"/>
              <a:gd name="T60" fmla="*/ 59 w 95"/>
              <a:gd name="T61" fmla="*/ 40 h 93"/>
              <a:gd name="T62" fmla="*/ 60 w 95"/>
              <a:gd name="T63" fmla="*/ 39 h 93"/>
              <a:gd name="T64" fmla="*/ 71 w 95"/>
              <a:gd name="T65" fmla="*/ 46 h 93"/>
              <a:gd name="T66" fmla="*/ 68 w 95"/>
              <a:gd name="T67" fmla="*/ 46 h 93"/>
              <a:gd name="T68" fmla="*/ 61 w 95"/>
              <a:gd name="T69" fmla="*/ 42 h 93"/>
              <a:gd name="T70" fmla="*/ 71 w 95"/>
              <a:gd name="T71" fmla="*/ 70 h 93"/>
              <a:gd name="T72" fmla="*/ 69 w 95"/>
              <a:gd name="T73" fmla="*/ 71 h 93"/>
              <a:gd name="T74" fmla="*/ 55 w 95"/>
              <a:gd name="T75" fmla="*/ 60 h 93"/>
              <a:gd name="T76" fmla="*/ 69 w 95"/>
              <a:gd name="T77" fmla="*/ 51 h 93"/>
              <a:gd name="T78" fmla="*/ 71 w 95"/>
              <a:gd name="T79" fmla="*/ 51 h 93"/>
              <a:gd name="T80" fmla="*/ 74 w 95"/>
              <a:gd name="T81" fmla="*/ 60 h 93"/>
              <a:gd name="T82" fmla="*/ 71 w 95"/>
              <a:gd name="T83" fmla="*/ 70 h 93"/>
              <a:gd name="T84" fmla="*/ 93 w 95"/>
              <a:gd name="T85" fmla="*/ 11 h 93"/>
              <a:gd name="T86" fmla="*/ 94 w 95"/>
              <a:gd name="T87" fmla="*/ 24 h 93"/>
              <a:gd name="T88" fmla="*/ 89 w 95"/>
              <a:gd name="T89" fmla="*/ 89 h 93"/>
              <a:gd name="T90" fmla="*/ 22 w 95"/>
              <a:gd name="T91" fmla="*/ 93 h 93"/>
              <a:gd name="T92" fmla="*/ 18 w 95"/>
              <a:gd name="T93" fmla="*/ 68 h 93"/>
              <a:gd name="T94" fmla="*/ 0 w 95"/>
              <a:gd name="T95" fmla="*/ 64 h 93"/>
              <a:gd name="T96" fmla="*/ 13 w 95"/>
              <a:gd name="T97" fmla="*/ 3 h 93"/>
              <a:gd name="T98" fmla="*/ 22 w 95"/>
              <a:gd name="T99" fmla="*/ 0 h 93"/>
              <a:gd name="T100" fmla="*/ 80 w 95"/>
              <a:gd name="T101" fmla="*/ 0 h 93"/>
              <a:gd name="T102" fmla="*/ 28 w 95"/>
              <a:gd name="T103" fmla="*/ 34 h 93"/>
              <a:gd name="T104" fmla="*/ 80 w 95"/>
              <a:gd name="T105" fmla="*/ 34 h 93"/>
              <a:gd name="T106" fmla="*/ 26 w 95"/>
              <a:gd name="T107" fmla="*/ 85 h 93"/>
              <a:gd name="T108" fmla="*/ 26 w 95"/>
              <a:gd name="T109" fmla="*/ 60 h 93"/>
              <a:gd name="T110" fmla="*/ 28 w 95"/>
              <a:gd name="T111" fmla="*/ 34 h 93"/>
              <a:gd name="T112" fmla="*/ 18 w 95"/>
              <a:gd name="T113" fmla="*/ 24 h 93"/>
              <a:gd name="T114" fmla="*/ 28 w 95"/>
              <a:gd name="T115" fmla="*/ 25 h 93"/>
              <a:gd name="T116" fmla="*/ 29 w 95"/>
              <a:gd name="T117" fmla="*/ 18 h 93"/>
              <a:gd name="T118" fmla="*/ 22 w 95"/>
              <a:gd name="T119" fmla="*/ 8 h 93"/>
              <a:gd name="T120" fmla="*/ 16 w 95"/>
              <a:gd name="T121" fmla="*/ 12 h 93"/>
              <a:gd name="T122" fmla="*/ 18 w 95"/>
              <a:gd name="T123" fmla="*/ 60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95" h="93">
                <a:moveTo>
                  <a:pt x="80" y="25"/>
                </a:moveTo>
                <a:cubicBezTo>
                  <a:pt x="85" y="25"/>
                  <a:pt x="85" y="25"/>
                  <a:pt x="85" y="25"/>
                </a:cubicBezTo>
                <a:cubicBezTo>
                  <a:pt x="85" y="25"/>
                  <a:pt x="85" y="25"/>
                  <a:pt x="85" y="25"/>
                </a:cubicBezTo>
                <a:cubicBezTo>
                  <a:pt x="85" y="25"/>
                  <a:pt x="85" y="24"/>
                  <a:pt x="86" y="22"/>
                </a:cubicBezTo>
                <a:cubicBezTo>
                  <a:pt x="86" y="21"/>
                  <a:pt x="86" y="19"/>
                  <a:pt x="86" y="18"/>
                </a:cubicBezTo>
                <a:cubicBezTo>
                  <a:pt x="86" y="16"/>
                  <a:pt x="86" y="15"/>
                  <a:pt x="86" y="13"/>
                </a:cubicBezTo>
                <a:cubicBezTo>
                  <a:pt x="85" y="11"/>
                  <a:pt x="83" y="8"/>
                  <a:pt x="80" y="8"/>
                </a:cubicBezTo>
                <a:cubicBezTo>
                  <a:pt x="80" y="8"/>
                  <a:pt x="80" y="8"/>
                  <a:pt x="80" y="8"/>
                </a:cubicBezTo>
                <a:cubicBezTo>
                  <a:pt x="35" y="8"/>
                  <a:pt x="35" y="8"/>
                  <a:pt x="35" y="8"/>
                </a:cubicBezTo>
                <a:cubicBezTo>
                  <a:pt x="35" y="9"/>
                  <a:pt x="36" y="10"/>
                  <a:pt x="36" y="11"/>
                </a:cubicBezTo>
                <a:cubicBezTo>
                  <a:pt x="37" y="13"/>
                  <a:pt x="37" y="15"/>
                  <a:pt x="37" y="18"/>
                </a:cubicBezTo>
                <a:cubicBezTo>
                  <a:pt x="37" y="20"/>
                  <a:pt x="37" y="22"/>
                  <a:pt x="36" y="24"/>
                </a:cubicBezTo>
                <a:cubicBezTo>
                  <a:pt x="36" y="24"/>
                  <a:pt x="36" y="25"/>
                  <a:pt x="36" y="25"/>
                </a:cubicBezTo>
                <a:cubicBezTo>
                  <a:pt x="80" y="25"/>
                  <a:pt x="80" y="25"/>
                  <a:pt x="80" y="25"/>
                </a:cubicBezTo>
                <a:close/>
                <a:moveTo>
                  <a:pt x="52" y="44"/>
                </a:moveTo>
                <a:cubicBezTo>
                  <a:pt x="43" y="44"/>
                  <a:pt x="35" y="52"/>
                  <a:pt x="35" y="62"/>
                </a:cubicBezTo>
                <a:cubicBezTo>
                  <a:pt x="35" y="71"/>
                  <a:pt x="43" y="79"/>
                  <a:pt x="52" y="79"/>
                </a:cubicBezTo>
                <a:cubicBezTo>
                  <a:pt x="58" y="79"/>
                  <a:pt x="63" y="76"/>
                  <a:pt x="66" y="72"/>
                </a:cubicBezTo>
                <a:cubicBezTo>
                  <a:pt x="52" y="62"/>
                  <a:pt x="52" y="62"/>
                  <a:pt x="52" y="62"/>
                </a:cubicBezTo>
                <a:cubicBezTo>
                  <a:pt x="55" y="45"/>
                  <a:pt x="55" y="45"/>
                  <a:pt x="55" y="45"/>
                </a:cubicBezTo>
                <a:cubicBezTo>
                  <a:pt x="54" y="45"/>
                  <a:pt x="53" y="44"/>
                  <a:pt x="52" y="44"/>
                </a:cubicBezTo>
                <a:close/>
                <a:moveTo>
                  <a:pt x="70" y="66"/>
                </a:moveTo>
                <a:cubicBezTo>
                  <a:pt x="61" y="59"/>
                  <a:pt x="61" y="59"/>
                  <a:pt x="61" y="59"/>
                </a:cubicBezTo>
                <a:cubicBezTo>
                  <a:pt x="62" y="59"/>
                  <a:pt x="62" y="59"/>
                  <a:pt x="62" y="59"/>
                </a:cubicBezTo>
                <a:cubicBezTo>
                  <a:pt x="70" y="65"/>
                  <a:pt x="70" y="65"/>
                  <a:pt x="70" y="65"/>
                </a:cubicBezTo>
                <a:cubicBezTo>
                  <a:pt x="70" y="66"/>
                  <a:pt x="70" y="66"/>
                  <a:pt x="70" y="66"/>
                </a:cubicBezTo>
                <a:close/>
                <a:moveTo>
                  <a:pt x="60" y="60"/>
                </a:moveTo>
                <a:cubicBezTo>
                  <a:pt x="70" y="67"/>
                  <a:pt x="70" y="67"/>
                  <a:pt x="70" y="67"/>
                </a:cubicBezTo>
                <a:cubicBezTo>
                  <a:pt x="70" y="67"/>
                  <a:pt x="69" y="68"/>
                  <a:pt x="69" y="68"/>
                </a:cubicBezTo>
                <a:cubicBezTo>
                  <a:pt x="60" y="60"/>
                  <a:pt x="60" y="60"/>
                  <a:pt x="60" y="60"/>
                </a:cubicBezTo>
                <a:cubicBezTo>
                  <a:pt x="60" y="60"/>
                  <a:pt x="60" y="60"/>
                  <a:pt x="60" y="60"/>
                </a:cubicBezTo>
                <a:close/>
                <a:moveTo>
                  <a:pt x="70" y="55"/>
                </a:moveTo>
                <a:cubicBezTo>
                  <a:pt x="69" y="54"/>
                  <a:pt x="69" y="54"/>
                  <a:pt x="69" y="54"/>
                </a:cubicBezTo>
                <a:cubicBezTo>
                  <a:pt x="70" y="54"/>
                  <a:pt x="70" y="54"/>
                  <a:pt x="70" y="54"/>
                </a:cubicBezTo>
                <a:cubicBezTo>
                  <a:pt x="70" y="54"/>
                  <a:pt x="70" y="54"/>
                  <a:pt x="70" y="55"/>
                </a:cubicBezTo>
                <a:close/>
                <a:moveTo>
                  <a:pt x="68" y="55"/>
                </a:moveTo>
                <a:cubicBezTo>
                  <a:pt x="68" y="55"/>
                  <a:pt x="68" y="55"/>
                  <a:pt x="68" y="55"/>
                </a:cubicBezTo>
                <a:cubicBezTo>
                  <a:pt x="71" y="58"/>
                  <a:pt x="71" y="58"/>
                  <a:pt x="71" y="58"/>
                </a:cubicBezTo>
                <a:cubicBezTo>
                  <a:pt x="71" y="57"/>
                  <a:pt x="71" y="57"/>
                  <a:pt x="71" y="56"/>
                </a:cubicBezTo>
                <a:cubicBezTo>
                  <a:pt x="68" y="55"/>
                  <a:pt x="68" y="55"/>
                  <a:pt x="68" y="55"/>
                </a:cubicBezTo>
                <a:close/>
                <a:moveTo>
                  <a:pt x="67" y="56"/>
                </a:moveTo>
                <a:cubicBezTo>
                  <a:pt x="71" y="59"/>
                  <a:pt x="71" y="59"/>
                  <a:pt x="71" y="59"/>
                </a:cubicBezTo>
                <a:cubicBezTo>
                  <a:pt x="71" y="59"/>
                  <a:pt x="71" y="60"/>
                  <a:pt x="71" y="60"/>
                </a:cubicBezTo>
                <a:cubicBezTo>
                  <a:pt x="66" y="56"/>
                  <a:pt x="66" y="56"/>
                  <a:pt x="66" y="56"/>
                </a:cubicBezTo>
                <a:cubicBezTo>
                  <a:pt x="67" y="56"/>
                  <a:pt x="67" y="56"/>
                  <a:pt x="67" y="56"/>
                </a:cubicBezTo>
                <a:close/>
                <a:moveTo>
                  <a:pt x="65" y="57"/>
                </a:moveTo>
                <a:cubicBezTo>
                  <a:pt x="71" y="61"/>
                  <a:pt x="71" y="61"/>
                  <a:pt x="71" y="61"/>
                </a:cubicBezTo>
                <a:cubicBezTo>
                  <a:pt x="71" y="62"/>
                  <a:pt x="71" y="62"/>
                  <a:pt x="71" y="62"/>
                </a:cubicBezTo>
                <a:cubicBezTo>
                  <a:pt x="64" y="57"/>
                  <a:pt x="64" y="57"/>
                  <a:pt x="64" y="57"/>
                </a:cubicBezTo>
                <a:cubicBezTo>
                  <a:pt x="65" y="57"/>
                  <a:pt x="65" y="57"/>
                  <a:pt x="65" y="57"/>
                </a:cubicBezTo>
                <a:close/>
                <a:moveTo>
                  <a:pt x="64" y="58"/>
                </a:moveTo>
                <a:cubicBezTo>
                  <a:pt x="71" y="64"/>
                  <a:pt x="71" y="64"/>
                  <a:pt x="71" y="64"/>
                </a:cubicBezTo>
                <a:cubicBezTo>
                  <a:pt x="71" y="64"/>
                  <a:pt x="71" y="64"/>
                  <a:pt x="71" y="64"/>
                </a:cubicBezTo>
                <a:cubicBezTo>
                  <a:pt x="63" y="58"/>
                  <a:pt x="63" y="58"/>
                  <a:pt x="63" y="58"/>
                </a:cubicBezTo>
                <a:cubicBezTo>
                  <a:pt x="64" y="58"/>
                  <a:pt x="64" y="58"/>
                  <a:pt x="64" y="58"/>
                </a:cubicBezTo>
                <a:close/>
                <a:moveTo>
                  <a:pt x="71" y="46"/>
                </a:moveTo>
                <a:cubicBezTo>
                  <a:pt x="71" y="47"/>
                  <a:pt x="71" y="47"/>
                  <a:pt x="71" y="47"/>
                </a:cubicBezTo>
                <a:cubicBezTo>
                  <a:pt x="70" y="48"/>
                  <a:pt x="70" y="48"/>
                  <a:pt x="70" y="48"/>
                </a:cubicBezTo>
                <a:cubicBezTo>
                  <a:pt x="58" y="56"/>
                  <a:pt x="58" y="56"/>
                  <a:pt x="58" y="56"/>
                </a:cubicBezTo>
                <a:cubicBezTo>
                  <a:pt x="56" y="57"/>
                  <a:pt x="56" y="57"/>
                  <a:pt x="56" y="57"/>
                </a:cubicBezTo>
                <a:cubicBezTo>
                  <a:pt x="56" y="54"/>
                  <a:pt x="56" y="54"/>
                  <a:pt x="56" y="54"/>
                </a:cubicBezTo>
                <a:cubicBezTo>
                  <a:pt x="59" y="40"/>
                  <a:pt x="59" y="40"/>
                  <a:pt x="59" y="40"/>
                </a:cubicBezTo>
                <a:cubicBezTo>
                  <a:pt x="59" y="39"/>
                  <a:pt x="59" y="39"/>
                  <a:pt x="59" y="39"/>
                </a:cubicBezTo>
                <a:cubicBezTo>
                  <a:pt x="60" y="39"/>
                  <a:pt x="60" y="39"/>
                  <a:pt x="60" y="39"/>
                </a:cubicBezTo>
                <a:cubicBezTo>
                  <a:pt x="62" y="39"/>
                  <a:pt x="64" y="40"/>
                  <a:pt x="66" y="41"/>
                </a:cubicBezTo>
                <a:cubicBezTo>
                  <a:pt x="68" y="42"/>
                  <a:pt x="70" y="44"/>
                  <a:pt x="71" y="46"/>
                </a:cubicBezTo>
                <a:close/>
                <a:moveTo>
                  <a:pt x="65" y="43"/>
                </a:moveTo>
                <a:cubicBezTo>
                  <a:pt x="66" y="44"/>
                  <a:pt x="67" y="45"/>
                  <a:pt x="68" y="46"/>
                </a:cubicBezTo>
                <a:cubicBezTo>
                  <a:pt x="59" y="52"/>
                  <a:pt x="59" y="52"/>
                  <a:pt x="59" y="52"/>
                </a:cubicBezTo>
                <a:cubicBezTo>
                  <a:pt x="61" y="42"/>
                  <a:pt x="61" y="42"/>
                  <a:pt x="61" y="42"/>
                </a:cubicBezTo>
                <a:cubicBezTo>
                  <a:pt x="62" y="42"/>
                  <a:pt x="64" y="43"/>
                  <a:pt x="65" y="43"/>
                </a:cubicBezTo>
                <a:close/>
                <a:moveTo>
                  <a:pt x="71" y="70"/>
                </a:moveTo>
                <a:cubicBezTo>
                  <a:pt x="70" y="71"/>
                  <a:pt x="70" y="71"/>
                  <a:pt x="70" y="71"/>
                </a:cubicBezTo>
                <a:cubicBezTo>
                  <a:pt x="69" y="71"/>
                  <a:pt x="69" y="71"/>
                  <a:pt x="69" y="71"/>
                </a:cubicBezTo>
                <a:cubicBezTo>
                  <a:pt x="57" y="61"/>
                  <a:pt x="57" y="61"/>
                  <a:pt x="57" y="61"/>
                </a:cubicBezTo>
                <a:cubicBezTo>
                  <a:pt x="55" y="60"/>
                  <a:pt x="55" y="60"/>
                  <a:pt x="55" y="60"/>
                </a:cubicBezTo>
                <a:cubicBezTo>
                  <a:pt x="57" y="59"/>
                  <a:pt x="57" y="59"/>
                  <a:pt x="57" y="59"/>
                </a:cubicBezTo>
                <a:cubicBezTo>
                  <a:pt x="69" y="51"/>
                  <a:pt x="69" y="51"/>
                  <a:pt x="69" y="51"/>
                </a:cubicBezTo>
                <a:cubicBezTo>
                  <a:pt x="70" y="50"/>
                  <a:pt x="70" y="50"/>
                  <a:pt x="70" y="50"/>
                </a:cubicBezTo>
                <a:cubicBezTo>
                  <a:pt x="71" y="51"/>
                  <a:pt x="71" y="51"/>
                  <a:pt x="71" y="51"/>
                </a:cubicBezTo>
                <a:cubicBezTo>
                  <a:pt x="72" y="53"/>
                  <a:pt x="73" y="54"/>
                  <a:pt x="73" y="56"/>
                </a:cubicBezTo>
                <a:cubicBezTo>
                  <a:pt x="74" y="57"/>
                  <a:pt x="74" y="59"/>
                  <a:pt x="74" y="60"/>
                </a:cubicBezTo>
                <a:cubicBezTo>
                  <a:pt x="74" y="62"/>
                  <a:pt x="74" y="64"/>
                  <a:pt x="73" y="66"/>
                </a:cubicBezTo>
                <a:cubicBezTo>
                  <a:pt x="72" y="67"/>
                  <a:pt x="72" y="69"/>
                  <a:pt x="71" y="70"/>
                </a:cubicBezTo>
                <a:close/>
                <a:moveTo>
                  <a:pt x="80" y="0"/>
                </a:moveTo>
                <a:cubicBezTo>
                  <a:pt x="87" y="0"/>
                  <a:pt x="92" y="5"/>
                  <a:pt x="93" y="11"/>
                </a:cubicBezTo>
                <a:cubicBezTo>
                  <a:pt x="94" y="13"/>
                  <a:pt x="94" y="15"/>
                  <a:pt x="94" y="18"/>
                </a:cubicBezTo>
                <a:cubicBezTo>
                  <a:pt x="95" y="20"/>
                  <a:pt x="94" y="22"/>
                  <a:pt x="94" y="24"/>
                </a:cubicBezTo>
                <a:cubicBezTo>
                  <a:pt x="93" y="28"/>
                  <a:pt x="91" y="31"/>
                  <a:pt x="89" y="33"/>
                </a:cubicBezTo>
                <a:cubicBezTo>
                  <a:pt x="89" y="89"/>
                  <a:pt x="89" y="89"/>
                  <a:pt x="89" y="89"/>
                </a:cubicBezTo>
                <a:cubicBezTo>
                  <a:pt x="85" y="93"/>
                  <a:pt x="85" y="93"/>
                  <a:pt x="85" y="93"/>
                </a:cubicBezTo>
                <a:cubicBezTo>
                  <a:pt x="22" y="93"/>
                  <a:pt x="22" y="93"/>
                  <a:pt x="22" y="93"/>
                </a:cubicBezTo>
                <a:cubicBezTo>
                  <a:pt x="18" y="89"/>
                  <a:pt x="18" y="89"/>
                  <a:pt x="18" y="89"/>
                </a:cubicBezTo>
                <a:cubicBezTo>
                  <a:pt x="18" y="68"/>
                  <a:pt x="18" y="68"/>
                  <a:pt x="18" y="68"/>
                </a:cubicBezTo>
                <a:cubicBezTo>
                  <a:pt x="4" y="68"/>
                  <a:pt x="4" y="68"/>
                  <a:pt x="4" y="68"/>
                </a:cubicBezTo>
                <a:cubicBezTo>
                  <a:pt x="0" y="64"/>
                  <a:pt x="0" y="64"/>
                  <a:pt x="0" y="64"/>
                </a:cubicBezTo>
                <a:cubicBezTo>
                  <a:pt x="8" y="12"/>
                  <a:pt x="8" y="12"/>
                  <a:pt x="8" y="12"/>
                </a:cubicBezTo>
                <a:cubicBezTo>
                  <a:pt x="8" y="8"/>
                  <a:pt x="10" y="6"/>
                  <a:pt x="13" y="3"/>
                </a:cubicBezTo>
                <a:cubicBezTo>
                  <a:pt x="15" y="1"/>
                  <a:pt x="19" y="0"/>
                  <a:pt x="22" y="0"/>
                </a:cubicBezTo>
                <a:cubicBezTo>
                  <a:pt x="22" y="0"/>
                  <a:pt x="22" y="0"/>
                  <a:pt x="22" y="0"/>
                </a:cubicBezTo>
                <a:cubicBezTo>
                  <a:pt x="22" y="0"/>
                  <a:pt x="22" y="0"/>
                  <a:pt x="22" y="0"/>
                </a:cubicBezTo>
                <a:cubicBezTo>
                  <a:pt x="80" y="0"/>
                  <a:pt x="80" y="0"/>
                  <a:pt x="80" y="0"/>
                </a:cubicBezTo>
                <a:cubicBezTo>
                  <a:pt x="80" y="0"/>
                  <a:pt x="80" y="0"/>
                  <a:pt x="80" y="0"/>
                </a:cubicBezTo>
                <a:close/>
                <a:moveTo>
                  <a:pt x="28" y="34"/>
                </a:moveTo>
                <a:cubicBezTo>
                  <a:pt x="28" y="34"/>
                  <a:pt x="28" y="34"/>
                  <a:pt x="28" y="34"/>
                </a:cubicBezTo>
                <a:cubicBezTo>
                  <a:pt x="80" y="34"/>
                  <a:pt x="80" y="34"/>
                  <a:pt x="80" y="34"/>
                </a:cubicBezTo>
                <a:cubicBezTo>
                  <a:pt x="80" y="85"/>
                  <a:pt x="80" y="85"/>
                  <a:pt x="80" y="85"/>
                </a:cubicBezTo>
                <a:cubicBezTo>
                  <a:pt x="26" y="85"/>
                  <a:pt x="26" y="85"/>
                  <a:pt x="26" y="85"/>
                </a:cubicBezTo>
                <a:cubicBezTo>
                  <a:pt x="26" y="68"/>
                  <a:pt x="26" y="68"/>
                  <a:pt x="26" y="68"/>
                </a:cubicBezTo>
                <a:cubicBezTo>
                  <a:pt x="26" y="60"/>
                  <a:pt x="26" y="60"/>
                  <a:pt x="26" y="60"/>
                </a:cubicBezTo>
                <a:cubicBezTo>
                  <a:pt x="26" y="33"/>
                  <a:pt x="26" y="33"/>
                  <a:pt x="26" y="33"/>
                </a:cubicBezTo>
                <a:cubicBezTo>
                  <a:pt x="27" y="34"/>
                  <a:pt x="27" y="34"/>
                  <a:pt x="28" y="34"/>
                </a:cubicBezTo>
                <a:close/>
                <a:moveTo>
                  <a:pt x="18" y="60"/>
                </a:moveTo>
                <a:cubicBezTo>
                  <a:pt x="18" y="24"/>
                  <a:pt x="18" y="24"/>
                  <a:pt x="18" y="24"/>
                </a:cubicBezTo>
                <a:cubicBezTo>
                  <a:pt x="26" y="23"/>
                  <a:pt x="26" y="23"/>
                  <a:pt x="26" y="23"/>
                </a:cubicBezTo>
                <a:cubicBezTo>
                  <a:pt x="26" y="23"/>
                  <a:pt x="26" y="25"/>
                  <a:pt x="28" y="25"/>
                </a:cubicBezTo>
                <a:cubicBezTo>
                  <a:pt x="28" y="25"/>
                  <a:pt x="28" y="24"/>
                  <a:pt x="28" y="22"/>
                </a:cubicBezTo>
                <a:cubicBezTo>
                  <a:pt x="29" y="21"/>
                  <a:pt x="29" y="19"/>
                  <a:pt x="29" y="18"/>
                </a:cubicBezTo>
                <a:cubicBezTo>
                  <a:pt x="29" y="16"/>
                  <a:pt x="28" y="15"/>
                  <a:pt x="28" y="13"/>
                </a:cubicBezTo>
                <a:cubicBezTo>
                  <a:pt x="27" y="11"/>
                  <a:pt x="25" y="8"/>
                  <a:pt x="22" y="8"/>
                </a:cubicBezTo>
                <a:cubicBezTo>
                  <a:pt x="21" y="8"/>
                  <a:pt x="19" y="9"/>
                  <a:pt x="18" y="10"/>
                </a:cubicBezTo>
                <a:cubicBezTo>
                  <a:pt x="17" y="11"/>
                  <a:pt x="16" y="11"/>
                  <a:pt x="16" y="12"/>
                </a:cubicBezTo>
                <a:cubicBezTo>
                  <a:pt x="8" y="60"/>
                  <a:pt x="8" y="60"/>
                  <a:pt x="8" y="60"/>
                </a:cubicBezTo>
                <a:lnTo>
                  <a:pt x="18" y="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288" name="Freeform 229">
            <a:extLst>
              <a:ext uri="{FF2B5EF4-FFF2-40B4-BE49-F238E27FC236}">
                <a16:creationId xmlns:a16="http://schemas.microsoft.com/office/drawing/2014/main" xmlns="" id="{1C3AC503-7D82-48DB-9EF7-4F90D585D519}"/>
              </a:ext>
            </a:extLst>
          </p:cNvPr>
          <p:cNvSpPr>
            <a:spLocks noEditPoints="1"/>
          </p:cNvSpPr>
          <p:nvPr/>
        </p:nvSpPr>
        <p:spPr bwMode="auto">
          <a:xfrm>
            <a:off x="9605250" y="4949235"/>
            <a:ext cx="234255" cy="293883"/>
          </a:xfrm>
          <a:custGeom>
            <a:avLst/>
            <a:gdLst>
              <a:gd name="T0" fmla="*/ 228 w 228"/>
              <a:gd name="T1" fmla="*/ 76 h 286"/>
              <a:gd name="T2" fmla="*/ 186 w 228"/>
              <a:gd name="T3" fmla="*/ 103 h 286"/>
              <a:gd name="T4" fmla="*/ 0 w 228"/>
              <a:gd name="T5" fmla="*/ 76 h 286"/>
              <a:gd name="T6" fmla="*/ 65 w 228"/>
              <a:gd name="T7" fmla="*/ 278 h 286"/>
              <a:gd name="T8" fmla="*/ 72 w 228"/>
              <a:gd name="T9" fmla="*/ 282 h 286"/>
              <a:gd name="T10" fmla="*/ 153 w 228"/>
              <a:gd name="T11" fmla="*/ 282 h 286"/>
              <a:gd name="T12" fmla="*/ 160 w 228"/>
              <a:gd name="T13" fmla="*/ 278 h 286"/>
              <a:gd name="T14" fmla="*/ 212 w 228"/>
              <a:gd name="T15" fmla="*/ 147 h 286"/>
              <a:gd name="T16" fmla="*/ 165 w 228"/>
              <a:gd name="T17" fmla="*/ 169 h 286"/>
              <a:gd name="T18" fmla="*/ 176 w 228"/>
              <a:gd name="T19" fmla="*/ 174 h 286"/>
              <a:gd name="T20" fmla="*/ 180 w 228"/>
              <a:gd name="T21" fmla="*/ 191 h 286"/>
              <a:gd name="T22" fmla="*/ 176 w 228"/>
              <a:gd name="T23" fmla="*/ 201 h 286"/>
              <a:gd name="T24" fmla="*/ 148 w 228"/>
              <a:gd name="T25" fmla="*/ 206 h 286"/>
              <a:gd name="T26" fmla="*/ 137 w 228"/>
              <a:gd name="T27" fmla="*/ 201 h 286"/>
              <a:gd name="T28" fmla="*/ 133 w 228"/>
              <a:gd name="T29" fmla="*/ 184 h 286"/>
              <a:gd name="T30" fmla="*/ 137 w 228"/>
              <a:gd name="T31" fmla="*/ 174 h 286"/>
              <a:gd name="T32" fmla="*/ 165 w 228"/>
              <a:gd name="T33" fmla="*/ 178 h 286"/>
              <a:gd name="T34" fmla="*/ 172 w 228"/>
              <a:gd name="T35" fmla="*/ 184 h 286"/>
              <a:gd name="T36" fmla="*/ 170 w 228"/>
              <a:gd name="T37" fmla="*/ 195 h 286"/>
              <a:gd name="T38" fmla="*/ 165 w 228"/>
              <a:gd name="T39" fmla="*/ 197 h 286"/>
              <a:gd name="T40" fmla="*/ 143 w 228"/>
              <a:gd name="T41" fmla="*/ 195 h 286"/>
              <a:gd name="T42" fmla="*/ 141 w 228"/>
              <a:gd name="T43" fmla="*/ 191 h 286"/>
              <a:gd name="T44" fmla="*/ 143 w 228"/>
              <a:gd name="T45" fmla="*/ 180 h 286"/>
              <a:gd name="T46" fmla="*/ 148 w 228"/>
              <a:gd name="T47" fmla="*/ 178 h 286"/>
              <a:gd name="T48" fmla="*/ 60 w 228"/>
              <a:gd name="T49" fmla="*/ 170 h 286"/>
              <a:gd name="T50" fmla="*/ 96 w 228"/>
              <a:gd name="T51" fmla="*/ 183 h 286"/>
              <a:gd name="T52" fmla="*/ 82 w 228"/>
              <a:gd name="T53" fmla="*/ 205 h 286"/>
              <a:gd name="T54" fmla="*/ 46 w 228"/>
              <a:gd name="T55" fmla="*/ 192 h 286"/>
              <a:gd name="T56" fmla="*/ 60 w 228"/>
              <a:gd name="T57" fmla="*/ 170 h 286"/>
              <a:gd name="T58" fmla="*/ 39 w 228"/>
              <a:gd name="T59" fmla="*/ 139 h 286"/>
              <a:gd name="T60" fmla="*/ 120 w 228"/>
              <a:gd name="T61" fmla="*/ 157 h 286"/>
              <a:gd name="T62" fmla="*/ 114 w 228"/>
              <a:gd name="T63" fmla="*/ 158 h 286"/>
              <a:gd name="T64" fmla="*/ 139 w 228"/>
              <a:gd name="T65" fmla="*/ 158 h 286"/>
              <a:gd name="T66" fmla="*/ 186 w 228"/>
              <a:gd name="T67" fmla="*/ 140 h 286"/>
              <a:gd name="T68" fmla="*/ 139 w 228"/>
              <a:gd name="T69" fmla="*/ 158 h 286"/>
              <a:gd name="T70" fmla="*/ 145 w 228"/>
              <a:gd name="T71" fmla="*/ 257 h 286"/>
              <a:gd name="T72" fmla="*/ 119 w 228"/>
              <a:gd name="T73" fmla="*/ 258 h 286"/>
              <a:gd name="T74" fmla="*/ 97 w 228"/>
              <a:gd name="T75" fmla="*/ 258 h 286"/>
              <a:gd name="T76" fmla="*/ 80 w 228"/>
              <a:gd name="T77" fmla="*/ 256 h 286"/>
              <a:gd name="T78" fmla="*/ 97 w 228"/>
              <a:gd name="T79" fmla="*/ 217 h 286"/>
              <a:gd name="T80" fmla="*/ 100 w 228"/>
              <a:gd name="T81" fmla="*/ 215 h 286"/>
              <a:gd name="T82" fmla="*/ 119 w 228"/>
              <a:gd name="T83" fmla="*/ 199 h 286"/>
              <a:gd name="T84" fmla="*/ 129 w 228"/>
              <a:gd name="T85" fmla="*/ 217 h 286"/>
              <a:gd name="T86" fmla="*/ 169 w 228"/>
              <a:gd name="T87" fmla="*/ 217 h 286"/>
              <a:gd name="T88" fmla="*/ 187 w 228"/>
              <a:gd name="T89" fmla="*/ 166 h 286"/>
              <a:gd name="T90" fmla="*/ 134 w 228"/>
              <a:gd name="T91" fmla="*/ 209 h 286"/>
              <a:gd name="T92" fmla="*/ 124 w 228"/>
              <a:gd name="T93" fmla="*/ 191 h 286"/>
              <a:gd name="T94" fmla="*/ 107 w 228"/>
              <a:gd name="T95" fmla="*/ 191 h 286"/>
              <a:gd name="T96" fmla="*/ 103 w 228"/>
              <a:gd name="T97" fmla="*/ 193 h 286"/>
              <a:gd name="T98" fmla="*/ 41 w 228"/>
              <a:gd name="T99" fmla="*/ 209 h 286"/>
              <a:gd name="T100" fmla="*/ 114 w 228"/>
              <a:gd name="T101" fmla="*/ 166 h 2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28" h="286">
                <a:moveTo>
                  <a:pt x="212" y="147"/>
                </a:moveTo>
                <a:cubicBezTo>
                  <a:pt x="228" y="76"/>
                  <a:pt x="228" y="76"/>
                  <a:pt x="228" y="76"/>
                </a:cubicBezTo>
                <a:cubicBezTo>
                  <a:pt x="221" y="77"/>
                  <a:pt x="213" y="78"/>
                  <a:pt x="206" y="77"/>
                </a:cubicBezTo>
                <a:cubicBezTo>
                  <a:pt x="186" y="103"/>
                  <a:pt x="186" y="103"/>
                  <a:pt x="186" y="103"/>
                </a:cubicBezTo>
                <a:cubicBezTo>
                  <a:pt x="184" y="74"/>
                  <a:pt x="184" y="74"/>
                  <a:pt x="184" y="74"/>
                </a:cubicBezTo>
                <a:cubicBezTo>
                  <a:pt x="123" y="57"/>
                  <a:pt x="64" y="0"/>
                  <a:pt x="0" y="76"/>
                </a:cubicBezTo>
                <a:cubicBezTo>
                  <a:pt x="5" y="102"/>
                  <a:pt x="19" y="187"/>
                  <a:pt x="27" y="211"/>
                </a:cubicBezTo>
                <a:cubicBezTo>
                  <a:pt x="35" y="238"/>
                  <a:pt x="48" y="260"/>
                  <a:pt x="65" y="278"/>
                </a:cubicBezTo>
                <a:cubicBezTo>
                  <a:pt x="68" y="281"/>
                  <a:pt x="68" y="281"/>
                  <a:pt x="68" y="281"/>
                </a:cubicBezTo>
                <a:cubicBezTo>
                  <a:pt x="72" y="282"/>
                  <a:pt x="72" y="282"/>
                  <a:pt x="72" y="282"/>
                </a:cubicBezTo>
                <a:cubicBezTo>
                  <a:pt x="80" y="283"/>
                  <a:pt x="87" y="284"/>
                  <a:pt x="95" y="284"/>
                </a:cubicBezTo>
                <a:cubicBezTo>
                  <a:pt x="114" y="286"/>
                  <a:pt x="132" y="285"/>
                  <a:pt x="153" y="282"/>
                </a:cubicBezTo>
                <a:cubicBezTo>
                  <a:pt x="158" y="281"/>
                  <a:pt x="158" y="281"/>
                  <a:pt x="158" y="281"/>
                </a:cubicBezTo>
                <a:cubicBezTo>
                  <a:pt x="160" y="278"/>
                  <a:pt x="160" y="278"/>
                  <a:pt x="160" y="278"/>
                </a:cubicBezTo>
                <a:cubicBezTo>
                  <a:pt x="177" y="261"/>
                  <a:pt x="190" y="238"/>
                  <a:pt x="199" y="211"/>
                </a:cubicBezTo>
                <a:cubicBezTo>
                  <a:pt x="206" y="192"/>
                  <a:pt x="210" y="170"/>
                  <a:pt x="212" y="147"/>
                </a:cubicBezTo>
                <a:close/>
                <a:moveTo>
                  <a:pt x="148" y="169"/>
                </a:moveTo>
                <a:cubicBezTo>
                  <a:pt x="165" y="169"/>
                  <a:pt x="165" y="169"/>
                  <a:pt x="165" y="169"/>
                </a:cubicBezTo>
                <a:cubicBezTo>
                  <a:pt x="169" y="169"/>
                  <a:pt x="173" y="171"/>
                  <a:pt x="176" y="174"/>
                </a:cubicBezTo>
                <a:cubicBezTo>
                  <a:pt x="176" y="174"/>
                  <a:pt x="176" y="174"/>
                  <a:pt x="176" y="174"/>
                </a:cubicBezTo>
                <a:cubicBezTo>
                  <a:pt x="179" y="177"/>
                  <a:pt x="180" y="180"/>
                  <a:pt x="180" y="184"/>
                </a:cubicBezTo>
                <a:cubicBezTo>
                  <a:pt x="180" y="191"/>
                  <a:pt x="180" y="191"/>
                  <a:pt x="180" y="191"/>
                </a:cubicBezTo>
                <a:cubicBezTo>
                  <a:pt x="180" y="195"/>
                  <a:pt x="179" y="199"/>
                  <a:pt x="176" y="201"/>
                </a:cubicBezTo>
                <a:cubicBezTo>
                  <a:pt x="176" y="201"/>
                  <a:pt x="176" y="201"/>
                  <a:pt x="176" y="201"/>
                </a:cubicBezTo>
                <a:cubicBezTo>
                  <a:pt x="173" y="204"/>
                  <a:pt x="169" y="206"/>
                  <a:pt x="165" y="206"/>
                </a:cubicBezTo>
                <a:cubicBezTo>
                  <a:pt x="148" y="206"/>
                  <a:pt x="148" y="206"/>
                  <a:pt x="148" y="206"/>
                </a:cubicBezTo>
                <a:cubicBezTo>
                  <a:pt x="144" y="206"/>
                  <a:pt x="140" y="204"/>
                  <a:pt x="137" y="201"/>
                </a:cubicBezTo>
                <a:cubicBezTo>
                  <a:pt x="137" y="201"/>
                  <a:pt x="137" y="201"/>
                  <a:pt x="137" y="201"/>
                </a:cubicBezTo>
                <a:cubicBezTo>
                  <a:pt x="135" y="198"/>
                  <a:pt x="133" y="195"/>
                  <a:pt x="133" y="191"/>
                </a:cubicBezTo>
                <a:cubicBezTo>
                  <a:pt x="133" y="184"/>
                  <a:pt x="133" y="184"/>
                  <a:pt x="133" y="184"/>
                </a:cubicBezTo>
                <a:cubicBezTo>
                  <a:pt x="133" y="180"/>
                  <a:pt x="135" y="177"/>
                  <a:pt x="137" y="174"/>
                </a:cubicBezTo>
                <a:cubicBezTo>
                  <a:pt x="137" y="174"/>
                  <a:pt x="137" y="174"/>
                  <a:pt x="137" y="174"/>
                </a:cubicBezTo>
                <a:cubicBezTo>
                  <a:pt x="140" y="171"/>
                  <a:pt x="144" y="169"/>
                  <a:pt x="148" y="169"/>
                </a:cubicBezTo>
                <a:close/>
                <a:moveTo>
                  <a:pt x="165" y="178"/>
                </a:moveTo>
                <a:cubicBezTo>
                  <a:pt x="167" y="178"/>
                  <a:pt x="169" y="179"/>
                  <a:pt x="170" y="180"/>
                </a:cubicBezTo>
                <a:cubicBezTo>
                  <a:pt x="171" y="181"/>
                  <a:pt x="172" y="183"/>
                  <a:pt x="172" y="184"/>
                </a:cubicBezTo>
                <a:cubicBezTo>
                  <a:pt x="172" y="191"/>
                  <a:pt x="172" y="191"/>
                  <a:pt x="172" y="191"/>
                </a:cubicBezTo>
                <a:cubicBezTo>
                  <a:pt x="172" y="192"/>
                  <a:pt x="171" y="194"/>
                  <a:pt x="170" y="195"/>
                </a:cubicBezTo>
                <a:cubicBezTo>
                  <a:pt x="170" y="195"/>
                  <a:pt x="170" y="195"/>
                  <a:pt x="170" y="195"/>
                </a:cubicBezTo>
                <a:cubicBezTo>
                  <a:pt x="169" y="196"/>
                  <a:pt x="167" y="197"/>
                  <a:pt x="165" y="197"/>
                </a:cubicBezTo>
                <a:cubicBezTo>
                  <a:pt x="148" y="197"/>
                  <a:pt x="148" y="197"/>
                  <a:pt x="148" y="197"/>
                </a:cubicBezTo>
                <a:cubicBezTo>
                  <a:pt x="146" y="197"/>
                  <a:pt x="144" y="196"/>
                  <a:pt x="143" y="195"/>
                </a:cubicBezTo>
                <a:cubicBezTo>
                  <a:pt x="143" y="195"/>
                  <a:pt x="143" y="195"/>
                  <a:pt x="143" y="195"/>
                </a:cubicBezTo>
                <a:cubicBezTo>
                  <a:pt x="142" y="194"/>
                  <a:pt x="141" y="192"/>
                  <a:pt x="141" y="191"/>
                </a:cubicBezTo>
                <a:cubicBezTo>
                  <a:pt x="141" y="184"/>
                  <a:pt x="141" y="184"/>
                  <a:pt x="141" y="184"/>
                </a:cubicBezTo>
                <a:cubicBezTo>
                  <a:pt x="141" y="183"/>
                  <a:pt x="142" y="181"/>
                  <a:pt x="143" y="180"/>
                </a:cubicBezTo>
                <a:cubicBezTo>
                  <a:pt x="143" y="180"/>
                  <a:pt x="143" y="180"/>
                  <a:pt x="143" y="180"/>
                </a:cubicBezTo>
                <a:cubicBezTo>
                  <a:pt x="144" y="179"/>
                  <a:pt x="146" y="178"/>
                  <a:pt x="148" y="178"/>
                </a:cubicBezTo>
                <a:cubicBezTo>
                  <a:pt x="165" y="178"/>
                  <a:pt x="165" y="178"/>
                  <a:pt x="165" y="178"/>
                </a:cubicBezTo>
                <a:close/>
                <a:moveTo>
                  <a:pt x="60" y="170"/>
                </a:moveTo>
                <a:cubicBezTo>
                  <a:pt x="82" y="170"/>
                  <a:pt x="82" y="170"/>
                  <a:pt x="82" y="170"/>
                </a:cubicBezTo>
                <a:cubicBezTo>
                  <a:pt x="90" y="170"/>
                  <a:pt x="96" y="176"/>
                  <a:pt x="96" y="183"/>
                </a:cubicBezTo>
                <a:cubicBezTo>
                  <a:pt x="96" y="192"/>
                  <a:pt x="96" y="192"/>
                  <a:pt x="96" y="192"/>
                </a:cubicBezTo>
                <a:cubicBezTo>
                  <a:pt x="96" y="199"/>
                  <a:pt x="90" y="205"/>
                  <a:pt x="82" y="205"/>
                </a:cubicBezTo>
                <a:cubicBezTo>
                  <a:pt x="60" y="205"/>
                  <a:pt x="60" y="205"/>
                  <a:pt x="60" y="205"/>
                </a:cubicBezTo>
                <a:cubicBezTo>
                  <a:pt x="52" y="205"/>
                  <a:pt x="46" y="199"/>
                  <a:pt x="46" y="192"/>
                </a:cubicBezTo>
                <a:cubicBezTo>
                  <a:pt x="46" y="183"/>
                  <a:pt x="46" y="183"/>
                  <a:pt x="46" y="183"/>
                </a:cubicBezTo>
                <a:cubicBezTo>
                  <a:pt x="46" y="176"/>
                  <a:pt x="52" y="170"/>
                  <a:pt x="60" y="170"/>
                </a:cubicBezTo>
                <a:close/>
                <a:moveTo>
                  <a:pt x="41" y="158"/>
                </a:moveTo>
                <a:cubicBezTo>
                  <a:pt x="40" y="151"/>
                  <a:pt x="40" y="145"/>
                  <a:pt x="39" y="139"/>
                </a:cubicBezTo>
                <a:cubicBezTo>
                  <a:pt x="69" y="154"/>
                  <a:pt x="105" y="151"/>
                  <a:pt x="133" y="143"/>
                </a:cubicBezTo>
                <a:cubicBezTo>
                  <a:pt x="129" y="148"/>
                  <a:pt x="125" y="153"/>
                  <a:pt x="120" y="157"/>
                </a:cubicBezTo>
                <a:cubicBezTo>
                  <a:pt x="121" y="158"/>
                  <a:pt x="121" y="158"/>
                  <a:pt x="121" y="158"/>
                </a:cubicBezTo>
                <a:cubicBezTo>
                  <a:pt x="114" y="158"/>
                  <a:pt x="114" y="158"/>
                  <a:pt x="114" y="158"/>
                </a:cubicBezTo>
                <a:cubicBezTo>
                  <a:pt x="41" y="158"/>
                  <a:pt x="41" y="158"/>
                  <a:pt x="41" y="158"/>
                </a:cubicBezTo>
                <a:close/>
                <a:moveTo>
                  <a:pt x="139" y="158"/>
                </a:moveTo>
                <a:cubicBezTo>
                  <a:pt x="151" y="153"/>
                  <a:pt x="164" y="145"/>
                  <a:pt x="169" y="134"/>
                </a:cubicBezTo>
                <a:cubicBezTo>
                  <a:pt x="173" y="133"/>
                  <a:pt x="183" y="140"/>
                  <a:pt x="186" y="140"/>
                </a:cubicBezTo>
                <a:cubicBezTo>
                  <a:pt x="186" y="145"/>
                  <a:pt x="185" y="151"/>
                  <a:pt x="185" y="158"/>
                </a:cubicBezTo>
                <a:cubicBezTo>
                  <a:pt x="139" y="158"/>
                  <a:pt x="139" y="158"/>
                  <a:pt x="139" y="158"/>
                </a:cubicBezTo>
                <a:close/>
                <a:moveTo>
                  <a:pt x="169" y="217"/>
                </a:moveTo>
                <a:cubicBezTo>
                  <a:pt x="163" y="232"/>
                  <a:pt x="155" y="246"/>
                  <a:pt x="145" y="257"/>
                </a:cubicBezTo>
                <a:cubicBezTo>
                  <a:pt x="136" y="258"/>
                  <a:pt x="128" y="258"/>
                  <a:pt x="119" y="258"/>
                </a:cubicBezTo>
                <a:cubicBezTo>
                  <a:pt x="119" y="258"/>
                  <a:pt x="119" y="258"/>
                  <a:pt x="119" y="258"/>
                </a:cubicBezTo>
                <a:cubicBezTo>
                  <a:pt x="115" y="258"/>
                  <a:pt x="111" y="258"/>
                  <a:pt x="107" y="258"/>
                </a:cubicBezTo>
                <a:cubicBezTo>
                  <a:pt x="104" y="258"/>
                  <a:pt x="100" y="258"/>
                  <a:pt x="97" y="258"/>
                </a:cubicBezTo>
                <a:cubicBezTo>
                  <a:pt x="95" y="258"/>
                  <a:pt x="95" y="258"/>
                  <a:pt x="95" y="258"/>
                </a:cubicBezTo>
                <a:cubicBezTo>
                  <a:pt x="90" y="257"/>
                  <a:pt x="85" y="257"/>
                  <a:pt x="80" y="256"/>
                </a:cubicBezTo>
                <a:cubicBezTo>
                  <a:pt x="70" y="245"/>
                  <a:pt x="63" y="232"/>
                  <a:pt x="57" y="217"/>
                </a:cubicBezTo>
                <a:cubicBezTo>
                  <a:pt x="97" y="217"/>
                  <a:pt x="97" y="217"/>
                  <a:pt x="97" y="217"/>
                </a:cubicBezTo>
                <a:cubicBezTo>
                  <a:pt x="99" y="217"/>
                  <a:pt x="99" y="217"/>
                  <a:pt x="99" y="217"/>
                </a:cubicBezTo>
                <a:cubicBezTo>
                  <a:pt x="100" y="215"/>
                  <a:pt x="100" y="215"/>
                  <a:pt x="100" y="215"/>
                </a:cubicBezTo>
                <a:cubicBezTo>
                  <a:pt x="109" y="199"/>
                  <a:pt x="109" y="199"/>
                  <a:pt x="109" y="199"/>
                </a:cubicBezTo>
                <a:cubicBezTo>
                  <a:pt x="119" y="199"/>
                  <a:pt x="119" y="199"/>
                  <a:pt x="119" y="199"/>
                </a:cubicBezTo>
                <a:cubicBezTo>
                  <a:pt x="128" y="215"/>
                  <a:pt x="128" y="215"/>
                  <a:pt x="128" y="215"/>
                </a:cubicBezTo>
                <a:cubicBezTo>
                  <a:pt x="129" y="217"/>
                  <a:pt x="129" y="217"/>
                  <a:pt x="129" y="217"/>
                </a:cubicBezTo>
                <a:cubicBezTo>
                  <a:pt x="132" y="217"/>
                  <a:pt x="132" y="217"/>
                  <a:pt x="132" y="217"/>
                </a:cubicBezTo>
                <a:cubicBezTo>
                  <a:pt x="169" y="217"/>
                  <a:pt x="169" y="217"/>
                  <a:pt x="169" y="217"/>
                </a:cubicBezTo>
                <a:close/>
                <a:moveTo>
                  <a:pt x="114" y="166"/>
                </a:moveTo>
                <a:cubicBezTo>
                  <a:pt x="187" y="166"/>
                  <a:pt x="187" y="166"/>
                  <a:pt x="187" y="166"/>
                </a:cubicBezTo>
                <a:cubicBezTo>
                  <a:pt x="187" y="209"/>
                  <a:pt x="187" y="209"/>
                  <a:pt x="187" y="209"/>
                </a:cubicBezTo>
                <a:cubicBezTo>
                  <a:pt x="134" y="209"/>
                  <a:pt x="134" y="209"/>
                  <a:pt x="134" y="209"/>
                </a:cubicBezTo>
                <a:cubicBezTo>
                  <a:pt x="125" y="193"/>
                  <a:pt x="125" y="193"/>
                  <a:pt x="125" y="193"/>
                </a:cubicBezTo>
                <a:cubicBezTo>
                  <a:pt x="124" y="191"/>
                  <a:pt x="124" y="191"/>
                  <a:pt x="124" y="191"/>
                </a:cubicBezTo>
                <a:cubicBezTo>
                  <a:pt x="121" y="191"/>
                  <a:pt x="121" y="191"/>
                  <a:pt x="121" y="191"/>
                </a:cubicBezTo>
                <a:cubicBezTo>
                  <a:pt x="107" y="191"/>
                  <a:pt x="107" y="191"/>
                  <a:pt x="107" y="191"/>
                </a:cubicBezTo>
                <a:cubicBezTo>
                  <a:pt x="105" y="191"/>
                  <a:pt x="105" y="191"/>
                  <a:pt x="105" y="191"/>
                </a:cubicBezTo>
                <a:cubicBezTo>
                  <a:pt x="103" y="193"/>
                  <a:pt x="103" y="193"/>
                  <a:pt x="103" y="193"/>
                </a:cubicBezTo>
                <a:cubicBezTo>
                  <a:pt x="94" y="209"/>
                  <a:pt x="94" y="209"/>
                  <a:pt x="94" y="209"/>
                </a:cubicBezTo>
                <a:cubicBezTo>
                  <a:pt x="41" y="209"/>
                  <a:pt x="41" y="209"/>
                  <a:pt x="41" y="209"/>
                </a:cubicBezTo>
                <a:cubicBezTo>
                  <a:pt x="41" y="166"/>
                  <a:pt x="41" y="166"/>
                  <a:pt x="41" y="166"/>
                </a:cubicBezTo>
                <a:lnTo>
                  <a:pt x="114" y="16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289" name="Freeform 113">
            <a:extLst>
              <a:ext uri="{FF2B5EF4-FFF2-40B4-BE49-F238E27FC236}">
                <a16:creationId xmlns:a16="http://schemas.microsoft.com/office/drawing/2014/main" xmlns="" id="{694F5622-4DC6-407B-B974-6A6C801C427E}"/>
              </a:ext>
            </a:extLst>
          </p:cNvPr>
          <p:cNvSpPr>
            <a:spLocks noEditPoints="1"/>
          </p:cNvSpPr>
          <p:nvPr/>
        </p:nvSpPr>
        <p:spPr bwMode="auto">
          <a:xfrm>
            <a:off x="10799402" y="5012860"/>
            <a:ext cx="221109" cy="250063"/>
          </a:xfrm>
          <a:custGeom>
            <a:avLst/>
            <a:gdLst>
              <a:gd name="T0" fmla="*/ 20 w 78"/>
              <a:gd name="T1" fmla="*/ 7 h 88"/>
              <a:gd name="T2" fmla="*/ 20 w 78"/>
              <a:gd name="T3" fmla="*/ 11 h 88"/>
              <a:gd name="T4" fmla="*/ 5 w 78"/>
              <a:gd name="T5" fmla="*/ 6 h 88"/>
              <a:gd name="T6" fmla="*/ 1 w 78"/>
              <a:gd name="T7" fmla="*/ 8 h 88"/>
              <a:gd name="T8" fmla="*/ 0 w 78"/>
              <a:gd name="T9" fmla="*/ 20 h 88"/>
              <a:gd name="T10" fmla="*/ 3 w 78"/>
              <a:gd name="T11" fmla="*/ 38 h 88"/>
              <a:gd name="T12" fmla="*/ 17 w 78"/>
              <a:gd name="T13" fmla="*/ 49 h 88"/>
              <a:gd name="T14" fmla="*/ 20 w 78"/>
              <a:gd name="T15" fmla="*/ 50 h 88"/>
              <a:gd name="T16" fmla="*/ 20 w 78"/>
              <a:gd name="T17" fmla="*/ 49 h 88"/>
              <a:gd name="T18" fmla="*/ 31 w 78"/>
              <a:gd name="T19" fmla="*/ 52 h 88"/>
              <a:gd name="T20" fmla="*/ 31 w 78"/>
              <a:gd name="T21" fmla="*/ 64 h 88"/>
              <a:gd name="T22" fmla="*/ 27 w 78"/>
              <a:gd name="T23" fmla="*/ 64 h 88"/>
              <a:gd name="T24" fmla="*/ 27 w 78"/>
              <a:gd name="T25" fmla="*/ 68 h 88"/>
              <a:gd name="T26" fmla="*/ 15 w 78"/>
              <a:gd name="T27" fmla="*/ 68 h 88"/>
              <a:gd name="T28" fmla="*/ 15 w 78"/>
              <a:gd name="T29" fmla="*/ 88 h 88"/>
              <a:gd name="T30" fmla="*/ 64 w 78"/>
              <a:gd name="T31" fmla="*/ 88 h 88"/>
              <a:gd name="T32" fmla="*/ 64 w 78"/>
              <a:gd name="T33" fmla="*/ 68 h 88"/>
              <a:gd name="T34" fmla="*/ 52 w 78"/>
              <a:gd name="T35" fmla="*/ 68 h 88"/>
              <a:gd name="T36" fmla="*/ 52 w 78"/>
              <a:gd name="T37" fmla="*/ 64 h 88"/>
              <a:gd name="T38" fmla="*/ 47 w 78"/>
              <a:gd name="T39" fmla="*/ 64 h 88"/>
              <a:gd name="T40" fmla="*/ 47 w 78"/>
              <a:gd name="T41" fmla="*/ 52 h 88"/>
              <a:gd name="T42" fmla="*/ 58 w 78"/>
              <a:gd name="T43" fmla="*/ 49 h 88"/>
              <a:gd name="T44" fmla="*/ 58 w 78"/>
              <a:gd name="T45" fmla="*/ 50 h 88"/>
              <a:gd name="T46" fmla="*/ 61 w 78"/>
              <a:gd name="T47" fmla="*/ 49 h 88"/>
              <a:gd name="T48" fmla="*/ 75 w 78"/>
              <a:gd name="T49" fmla="*/ 38 h 88"/>
              <a:gd name="T50" fmla="*/ 78 w 78"/>
              <a:gd name="T51" fmla="*/ 20 h 88"/>
              <a:gd name="T52" fmla="*/ 77 w 78"/>
              <a:gd name="T53" fmla="*/ 8 h 88"/>
              <a:gd name="T54" fmla="*/ 73 w 78"/>
              <a:gd name="T55" fmla="*/ 6 h 88"/>
              <a:gd name="T56" fmla="*/ 58 w 78"/>
              <a:gd name="T57" fmla="*/ 11 h 88"/>
              <a:gd name="T58" fmla="*/ 58 w 78"/>
              <a:gd name="T59" fmla="*/ 7 h 88"/>
              <a:gd name="T60" fmla="*/ 60 w 78"/>
              <a:gd name="T61" fmla="*/ 7 h 88"/>
              <a:gd name="T62" fmla="*/ 60 w 78"/>
              <a:gd name="T63" fmla="*/ 0 h 88"/>
              <a:gd name="T64" fmla="*/ 17 w 78"/>
              <a:gd name="T65" fmla="*/ 0 h 88"/>
              <a:gd name="T66" fmla="*/ 17 w 78"/>
              <a:gd name="T67" fmla="*/ 7 h 88"/>
              <a:gd name="T68" fmla="*/ 20 w 78"/>
              <a:gd name="T69" fmla="*/ 7 h 88"/>
              <a:gd name="T70" fmla="*/ 63 w 78"/>
              <a:gd name="T71" fmla="*/ 42 h 88"/>
              <a:gd name="T72" fmla="*/ 59 w 78"/>
              <a:gd name="T73" fmla="*/ 20 h 88"/>
              <a:gd name="T74" fmla="*/ 61 w 78"/>
              <a:gd name="T75" fmla="*/ 22 h 88"/>
              <a:gd name="T76" fmla="*/ 66 w 78"/>
              <a:gd name="T77" fmla="*/ 18 h 88"/>
              <a:gd name="T78" fmla="*/ 64 w 78"/>
              <a:gd name="T79" fmla="*/ 16 h 88"/>
              <a:gd name="T80" fmla="*/ 71 w 78"/>
              <a:gd name="T81" fmla="*/ 13 h 88"/>
              <a:gd name="T82" fmla="*/ 72 w 78"/>
              <a:gd name="T83" fmla="*/ 20 h 88"/>
              <a:gd name="T84" fmla="*/ 69 w 78"/>
              <a:gd name="T85" fmla="*/ 36 h 88"/>
              <a:gd name="T86" fmla="*/ 63 w 78"/>
              <a:gd name="T87" fmla="*/ 42 h 88"/>
              <a:gd name="T88" fmla="*/ 19 w 78"/>
              <a:gd name="T89" fmla="*/ 20 h 88"/>
              <a:gd name="T90" fmla="*/ 15 w 78"/>
              <a:gd name="T91" fmla="*/ 42 h 88"/>
              <a:gd name="T92" fmla="*/ 9 w 78"/>
              <a:gd name="T93" fmla="*/ 36 h 88"/>
              <a:gd name="T94" fmla="*/ 6 w 78"/>
              <a:gd name="T95" fmla="*/ 20 h 88"/>
              <a:gd name="T96" fmla="*/ 7 w 78"/>
              <a:gd name="T97" fmla="*/ 13 h 88"/>
              <a:gd name="T98" fmla="*/ 14 w 78"/>
              <a:gd name="T99" fmla="*/ 16 h 88"/>
              <a:gd name="T100" fmla="*/ 12 w 78"/>
              <a:gd name="T101" fmla="*/ 18 h 88"/>
              <a:gd name="T102" fmla="*/ 17 w 78"/>
              <a:gd name="T103" fmla="*/ 22 h 88"/>
              <a:gd name="T104" fmla="*/ 19 w 78"/>
              <a:gd name="T105" fmla="*/ 20 h 88"/>
              <a:gd name="T106" fmla="*/ 32 w 78"/>
              <a:gd name="T107" fmla="*/ 10 h 88"/>
              <a:gd name="T108" fmla="*/ 32 w 78"/>
              <a:gd name="T109" fmla="*/ 45 h 88"/>
              <a:gd name="T110" fmla="*/ 25 w 78"/>
              <a:gd name="T111" fmla="*/ 41 h 88"/>
              <a:gd name="T112" fmla="*/ 28 w 78"/>
              <a:gd name="T113" fmla="*/ 14 h 88"/>
              <a:gd name="T114" fmla="*/ 28 w 78"/>
              <a:gd name="T115" fmla="*/ 10 h 88"/>
              <a:gd name="T116" fmla="*/ 32 w 78"/>
              <a:gd name="T117" fmla="*/ 10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78" h="88">
                <a:moveTo>
                  <a:pt x="20" y="7"/>
                </a:moveTo>
                <a:cubicBezTo>
                  <a:pt x="20" y="8"/>
                  <a:pt x="21" y="10"/>
                  <a:pt x="20" y="11"/>
                </a:cubicBezTo>
                <a:cubicBezTo>
                  <a:pt x="5" y="6"/>
                  <a:pt x="5" y="6"/>
                  <a:pt x="5" y="6"/>
                </a:cubicBezTo>
                <a:cubicBezTo>
                  <a:pt x="1" y="8"/>
                  <a:pt x="1" y="8"/>
                  <a:pt x="1" y="8"/>
                </a:cubicBezTo>
                <a:cubicBezTo>
                  <a:pt x="0" y="11"/>
                  <a:pt x="0" y="16"/>
                  <a:pt x="0" y="20"/>
                </a:cubicBezTo>
                <a:cubicBezTo>
                  <a:pt x="0" y="26"/>
                  <a:pt x="1" y="33"/>
                  <a:pt x="3" y="38"/>
                </a:cubicBezTo>
                <a:cubicBezTo>
                  <a:pt x="6" y="44"/>
                  <a:pt x="10" y="48"/>
                  <a:pt x="17" y="49"/>
                </a:cubicBezTo>
                <a:cubicBezTo>
                  <a:pt x="18" y="50"/>
                  <a:pt x="19" y="50"/>
                  <a:pt x="20" y="50"/>
                </a:cubicBezTo>
                <a:cubicBezTo>
                  <a:pt x="20" y="49"/>
                  <a:pt x="20" y="49"/>
                  <a:pt x="20" y="49"/>
                </a:cubicBezTo>
                <a:cubicBezTo>
                  <a:pt x="22" y="51"/>
                  <a:pt x="26" y="52"/>
                  <a:pt x="31" y="52"/>
                </a:cubicBezTo>
                <a:cubicBezTo>
                  <a:pt x="31" y="64"/>
                  <a:pt x="31" y="64"/>
                  <a:pt x="31" y="64"/>
                </a:cubicBezTo>
                <a:cubicBezTo>
                  <a:pt x="27" y="64"/>
                  <a:pt x="27" y="64"/>
                  <a:pt x="27" y="64"/>
                </a:cubicBezTo>
                <a:cubicBezTo>
                  <a:pt x="27" y="68"/>
                  <a:pt x="27" y="68"/>
                  <a:pt x="27" y="68"/>
                </a:cubicBezTo>
                <a:cubicBezTo>
                  <a:pt x="15" y="68"/>
                  <a:pt x="15" y="68"/>
                  <a:pt x="15" y="68"/>
                </a:cubicBezTo>
                <a:cubicBezTo>
                  <a:pt x="15" y="88"/>
                  <a:pt x="15" y="88"/>
                  <a:pt x="15" y="88"/>
                </a:cubicBezTo>
                <a:cubicBezTo>
                  <a:pt x="64" y="88"/>
                  <a:pt x="64" y="88"/>
                  <a:pt x="64" y="88"/>
                </a:cubicBezTo>
                <a:cubicBezTo>
                  <a:pt x="64" y="68"/>
                  <a:pt x="64" y="68"/>
                  <a:pt x="64" y="68"/>
                </a:cubicBezTo>
                <a:cubicBezTo>
                  <a:pt x="52" y="68"/>
                  <a:pt x="52" y="68"/>
                  <a:pt x="52" y="68"/>
                </a:cubicBezTo>
                <a:cubicBezTo>
                  <a:pt x="52" y="64"/>
                  <a:pt x="52" y="64"/>
                  <a:pt x="52" y="64"/>
                </a:cubicBezTo>
                <a:cubicBezTo>
                  <a:pt x="47" y="64"/>
                  <a:pt x="47" y="64"/>
                  <a:pt x="47" y="64"/>
                </a:cubicBezTo>
                <a:cubicBezTo>
                  <a:pt x="47" y="52"/>
                  <a:pt x="47" y="52"/>
                  <a:pt x="47" y="52"/>
                </a:cubicBezTo>
                <a:cubicBezTo>
                  <a:pt x="52" y="52"/>
                  <a:pt x="56" y="51"/>
                  <a:pt x="58" y="49"/>
                </a:cubicBezTo>
                <a:cubicBezTo>
                  <a:pt x="58" y="50"/>
                  <a:pt x="58" y="50"/>
                  <a:pt x="58" y="50"/>
                </a:cubicBezTo>
                <a:cubicBezTo>
                  <a:pt x="59" y="50"/>
                  <a:pt x="60" y="50"/>
                  <a:pt x="61" y="49"/>
                </a:cubicBezTo>
                <a:cubicBezTo>
                  <a:pt x="68" y="48"/>
                  <a:pt x="72" y="44"/>
                  <a:pt x="75" y="38"/>
                </a:cubicBezTo>
                <a:cubicBezTo>
                  <a:pt x="77" y="33"/>
                  <a:pt x="78" y="26"/>
                  <a:pt x="78" y="20"/>
                </a:cubicBezTo>
                <a:cubicBezTo>
                  <a:pt x="78" y="16"/>
                  <a:pt x="78" y="11"/>
                  <a:pt x="77" y="8"/>
                </a:cubicBezTo>
                <a:cubicBezTo>
                  <a:pt x="73" y="6"/>
                  <a:pt x="73" y="6"/>
                  <a:pt x="73" y="6"/>
                </a:cubicBezTo>
                <a:cubicBezTo>
                  <a:pt x="58" y="11"/>
                  <a:pt x="58" y="11"/>
                  <a:pt x="58" y="11"/>
                </a:cubicBezTo>
                <a:cubicBezTo>
                  <a:pt x="57" y="10"/>
                  <a:pt x="58" y="8"/>
                  <a:pt x="58" y="7"/>
                </a:cubicBezTo>
                <a:cubicBezTo>
                  <a:pt x="60" y="7"/>
                  <a:pt x="60" y="7"/>
                  <a:pt x="60" y="7"/>
                </a:cubicBezTo>
                <a:cubicBezTo>
                  <a:pt x="60" y="0"/>
                  <a:pt x="60" y="0"/>
                  <a:pt x="60" y="0"/>
                </a:cubicBezTo>
                <a:cubicBezTo>
                  <a:pt x="17" y="0"/>
                  <a:pt x="17" y="0"/>
                  <a:pt x="17" y="0"/>
                </a:cubicBezTo>
                <a:cubicBezTo>
                  <a:pt x="17" y="7"/>
                  <a:pt x="17" y="7"/>
                  <a:pt x="17" y="7"/>
                </a:cubicBezTo>
                <a:cubicBezTo>
                  <a:pt x="20" y="7"/>
                  <a:pt x="20" y="7"/>
                  <a:pt x="20" y="7"/>
                </a:cubicBezTo>
                <a:close/>
                <a:moveTo>
                  <a:pt x="63" y="42"/>
                </a:moveTo>
                <a:cubicBezTo>
                  <a:pt x="64" y="36"/>
                  <a:pt x="60" y="28"/>
                  <a:pt x="59" y="20"/>
                </a:cubicBezTo>
                <a:cubicBezTo>
                  <a:pt x="61" y="22"/>
                  <a:pt x="61" y="22"/>
                  <a:pt x="61" y="22"/>
                </a:cubicBezTo>
                <a:cubicBezTo>
                  <a:pt x="66" y="18"/>
                  <a:pt x="66" y="18"/>
                  <a:pt x="66" y="18"/>
                </a:cubicBezTo>
                <a:cubicBezTo>
                  <a:pt x="64" y="16"/>
                  <a:pt x="64" y="16"/>
                  <a:pt x="64" y="16"/>
                </a:cubicBezTo>
                <a:cubicBezTo>
                  <a:pt x="71" y="13"/>
                  <a:pt x="71" y="13"/>
                  <a:pt x="71" y="13"/>
                </a:cubicBezTo>
                <a:cubicBezTo>
                  <a:pt x="72" y="15"/>
                  <a:pt x="72" y="18"/>
                  <a:pt x="72" y="20"/>
                </a:cubicBezTo>
                <a:cubicBezTo>
                  <a:pt x="71" y="26"/>
                  <a:pt x="71" y="31"/>
                  <a:pt x="69" y="36"/>
                </a:cubicBezTo>
                <a:cubicBezTo>
                  <a:pt x="67" y="39"/>
                  <a:pt x="65" y="41"/>
                  <a:pt x="63" y="42"/>
                </a:cubicBezTo>
                <a:close/>
                <a:moveTo>
                  <a:pt x="19" y="20"/>
                </a:moveTo>
                <a:cubicBezTo>
                  <a:pt x="17" y="28"/>
                  <a:pt x="14" y="36"/>
                  <a:pt x="15" y="42"/>
                </a:cubicBezTo>
                <a:cubicBezTo>
                  <a:pt x="13" y="41"/>
                  <a:pt x="11" y="39"/>
                  <a:pt x="9" y="36"/>
                </a:cubicBezTo>
                <a:cubicBezTo>
                  <a:pt x="7" y="31"/>
                  <a:pt x="6" y="26"/>
                  <a:pt x="6" y="20"/>
                </a:cubicBezTo>
                <a:cubicBezTo>
                  <a:pt x="6" y="18"/>
                  <a:pt x="6" y="15"/>
                  <a:pt x="7" y="13"/>
                </a:cubicBezTo>
                <a:cubicBezTo>
                  <a:pt x="14" y="16"/>
                  <a:pt x="14" y="16"/>
                  <a:pt x="14" y="16"/>
                </a:cubicBezTo>
                <a:cubicBezTo>
                  <a:pt x="12" y="18"/>
                  <a:pt x="12" y="18"/>
                  <a:pt x="12" y="18"/>
                </a:cubicBezTo>
                <a:cubicBezTo>
                  <a:pt x="17" y="22"/>
                  <a:pt x="17" y="22"/>
                  <a:pt x="17" y="22"/>
                </a:cubicBezTo>
                <a:cubicBezTo>
                  <a:pt x="19" y="20"/>
                  <a:pt x="19" y="20"/>
                  <a:pt x="19" y="20"/>
                </a:cubicBezTo>
                <a:close/>
                <a:moveTo>
                  <a:pt x="32" y="10"/>
                </a:moveTo>
                <a:cubicBezTo>
                  <a:pt x="32" y="45"/>
                  <a:pt x="32" y="45"/>
                  <a:pt x="32" y="45"/>
                </a:cubicBezTo>
                <a:cubicBezTo>
                  <a:pt x="32" y="45"/>
                  <a:pt x="27" y="45"/>
                  <a:pt x="25" y="41"/>
                </a:cubicBezTo>
                <a:cubicBezTo>
                  <a:pt x="24" y="37"/>
                  <a:pt x="28" y="16"/>
                  <a:pt x="28" y="14"/>
                </a:cubicBezTo>
                <a:cubicBezTo>
                  <a:pt x="28" y="13"/>
                  <a:pt x="28" y="10"/>
                  <a:pt x="28" y="10"/>
                </a:cubicBezTo>
                <a:lnTo>
                  <a:pt x="32" y="1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292" name="TextBox 291">
            <a:extLst>
              <a:ext uri="{FF2B5EF4-FFF2-40B4-BE49-F238E27FC236}">
                <a16:creationId xmlns:a16="http://schemas.microsoft.com/office/drawing/2014/main" xmlns="" id="{A9833CA2-F8B3-43A5-9FE9-C60B948E7A30}"/>
              </a:ext>
            </a:extLst>
          </p:cNvPr>
          <p:cNvSpPr txBox="1"/>
          <p:nvPr/>
        </p:nvSpPr>
        <p:spPr>
          <a:xfrm>
            <a:off x="4404442" y="5654019"/>
            <a:ext cx="1825549" cy="934478"/>
          </a:xfrm>
          <a:prstGeom prst="rect">
            <a:avLst/>
          </a:prstGeom>
          <a:noFill/>
        </p:spPr>
        <p:txBody>
          <a:bodyPr wrap="square" lIns="72000" tIns="36000" rIns="72000" bIns="36000" rtlCol="0" anchor="t">
            <a:spAutoFit/>
          </a:bodyPr>
          <a:lstStyle/>
          <a:p>
            <a:pPr algn="r"/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Затраты </a:t>
            </a:r>
            <a:r>
              <a:rPr lang="ru-RU" sz="1400" b="1" dirty="0" smtClean="0">
                <a:solidFill>
                  <a:schemeClr val="bg2">
                    <a:lumMod val="25000"/>
                  </a:schemeClr>
                </a:solidFill>
                <a:latin typeface="+mj-lt"/>
              </a:rPr>
              <a:t>респондентов </a:t>
            </a:r>
          </a:p>
          <a:p>
            <a:pPr algn="r"/>
            <a:r>
              <a:rPr lang="ru-RU" sz="1400" dirty="0" smtClean="0">
                <a:solidFill>
                  <a:schemeClr val="bg2">
                    <a:lumMod val="25000"/>
                  </a:schemeClr>
                </a:solidFill>
                <a:latin typeface="+mj-lt"/>
              </a:rPr>
              <a:t>на </a:t>
            </a:r>
            <a:r>
              <a:rPr lang="ru-RU" sz="1400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формирование </a:t>
            </a:r>
            <a:r>
              <a:rPr lang="ru-RU" sz="1400" dirty="0" err="1">
                <a:solidFill>
                  <a:schemeClr val="bg2">
                    <a:lumMod val="25000"/>
                  </a:schemeClr>
                </a:solidFill>
                <a:latin typeface="+mj-lt"/>
              </a:rPr>
              <a:t>статотчетности</a:t>
            </a:r>
            <a:r>
              <a:rPr lang="ru-RU" sz="1400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 от 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100 млрд </a:t>
            </a:r>
            <a:r>
              <a:rPr lang="ru-RU" sz="1400" b="1" dirty="0" smtClean="0">
                <a:solidFill>
                  <a:schemeClr val="bg2">
                    <a:lumMod val="25000"/>
                  </a:schemeClr>
                </a:solidFill>
                <a:latin typeface="+mj-lt"/>
              </a:rPr>
              <a:t>до трлн в год</a:t>
            </a:r>
            <a:endParaRPr lang="en-US" sz="1050" dirty="0">
              <a:solidFill>
                <a:schemeClr val="bg2">
                  <a:lumMod val="25000"/>
                </a:schemeClr>
              </a:solidFill>
              <a:latin typeface="+mj-lt"/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1111295" y="1669529"/>
            <a:ext cx="478954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Статотчетность</a:t>
            </a: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многократно собирается </a:t>
            </a: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с </a:t>
            </a: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предприятий: нет норм сбора </a:t>
            </a:r>
            <a:r>
              <a:rPr lang="ru-RU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статотчетности</a:t>
            </a: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для предприятий</a:t>
            </a:r>
            <a:endParaRPr lang="ru-RU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grpSp>
        <p:nvGrpSpPr>
          <p:cNvPr id="302" name="Group 250"/>
          <p:cNvGrpSpPr/>
          <p:nvPr/>
        </p:nvGrpSpPr>
        <p:grpSpPr>
          <a:xfrm>
            <a:off x="347216" y="1775807"/>
            <a:ext cx="679849" cy="641512"/>
            <a:chOff x="373063" y="2759075"/>
            <a:chExt cx="422275" cy="398463"/>
          </a:xfrm>
          <a:solidFill>
            <a:schemeClr val="bg1">
              <a:lumMod val="50000"/>
            </a:schemeClr>
          </a:solidFill>
        </p:grpSpPr>
        <p:sp>
          <p:nvSpPr>
            <p:cNvPr id="303" name="Freeform 221"/>
            <p:cNvSpPr>
              <a:spLocks/>
            </p:cNvSpPr>
            <p:nvPr/>
          </p:nvSpPr>
          <p:spPr bwMode="auto">
            <a:xfrm>
              <a:off x="579438" y="3017838"/>
              <a:ext cx="204788" cy="139700"/>
            </a:xfrm>
            <a:custGeom>
              <a:avLst/>
              <a:gdLst/>
              <a:ahLst/>
              <a:cxnLst>
                <a:cxn ang="0">
                  <a:pos x="91" y="18"/>
                </a:cxn>
                <a:cxn ang="0">
                  <a:pos x="33" y="18"/>
                </a:cxn>
                <a:cxn ang="0">
                  <a:pos x="33" y="0"/>
                </a:cxn>
                <a:cxn ang="0">
                  <a:pos x="16" y="22"/>
                </a:cxn>
                <a:cxn ang="0">
                  <a:pos x="0" y="44"/>
                </a:cxn>
                <a:cxn ang="0">
                  <a:pos x="16" y="66"/>
                </a:cxn>
                <a:cxn ang="0">
                  <a:pos x="33" y="88"/>
                </a:cxn>
                <a:cxn ang="0">
                  <a:pos x="33" y="75"/>
                </a:cxn>
                <a:cxn ang="0">
                  <a:pos x="64" y="74"/>
                </a:cxn>
                <a:cxn ang="0">
                  <a:pos x="98" y="61"/>
                </a:cxn>
                <a:cxn ang="0">
                  <a:pos x="129" y="4"/>
                </a:cxn>
                <a:cxn ang="0">
                  <a:pos x="91" y="18"/>
                </a:cxn>
              </a:cxnLst>
              <a:rect l="0" t="0" r="r" b="b"/>
              <a:pathLst>
                <a:path w="129" h="88">
                  <a:moveTo>
                    <a:pt x="91" y="18"/>
                  </a:moveTo>
                  <a:cubicBezTo>
                    <a:pt x="33" y="18"/>
                    <a:pt x="33" y="18"/>
                    <a:pt x="33" y="18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33" y="88"/>
                    <a:pt x="33" y="88"/>
                    <a:pt x="33" y="88"/>
                  </a:cubicBezTo>
                  <a:cubicBezTo>
                    <a:pt x="33" y="75"/>
                    <a:pt x="33" y="75"/>
                    <a:pt x="33" y="75"/>
                  </a:cubicBezTo>
                  <a:cubicBezTo>
                    <a:pt x="64" y="74"/>
                    <a:pt x="64" y="74"/>
                    <a:pt x="64" y="74"/>
                  </a:cubicBezTo>
                  <a:cubicBezTo>
                    <a:pt x="92" y="73"/>
                    <a:pt x="98" y="61"/>
                    <a:pt x="98" y="61"/>
                  </a:cubicBezTo>
                  <a:cubicBezTo>
                    <a:pt x="129" y="4"/>
                    <a:pt x="129" y="4"/>
                    <a:pt x="129" y="4"/>
                  </a:cubicBezTo>
                  <a:cubicBezTo>
                    <a:pt x="118" y="20"/>
                    <a:pt x="91" y="18"/>
                    <a:pt x="91" y="1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04" name="Freeform 222"/>
            <p:cNvSpPr>
              <a:spLocks/>
            </p:cNvSpPr>
            <p:nvPr/>
          </p:nvSpPr>
          <p:spPr bwMode="auto">
            <a:xfrm>
              <a:off x="671513" y="2916238"/>
              <a:ext cx="123825" cy="117475"/>
            </a:xfrm>
            <a:custGeom>
              <a:avLst/>
              <a:gdLst/>
              <a:ahLst/>
              <a:cxnLst>
                <a:cxn ang="0">
                  <a:pos x="49" y="0"/>
                </a:cxn>
                <a:cxn ang="0">
                  <a:pos x="0" y="28"/>
                </a:cxn>
                <a:cxn ang="0">
                  <a:pos x="25" y="71"/>
                </a:cxn>
                <a:cxn ang="0">
                  <a:pos x="58" y="66"/>
                </a:cxn>
                <a:cxn ang="0">
                  <a:pos x="67" y="29"/>
                </a:cxn>
                <a:cxn ang="0">
                  <a:pos x="49" y="0"/>
                </a:cxn>
              </a:cxnLst>
              <a:rect l="0" t="0" r="r" b="b"/>
              <a:pathLst>
                <a:path w="78" h="74">
                  <a:moveTo>
                    <a:pt x="49" y="0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25" y="71"/>
                    <a:pt x="25" y="71"/>
                    <a:pt x="25" y="71"/>
                  </a:cubicBezTo>
                  <a:cubicBezTo>
                    <a:pt x="50" y="74"/>
                    <a:pt x="58" y="66"/>
                    <a:pt x="58" y="66"/>
                  </a:cubicBezTo>
                  <a:cubicBezTo>
                    <a:pt x="78" y="54"/>
                    <a:pt x="67" y="29"/>
                    <a:pt x="67" y="29"/>
                  </a:cubicBezTo>
                  <a:lnTo>
                    <a:pt x="4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05" name="Freeform 223"/>
            <p:cNvSpPr>
              <a:spLocks/>
            </p:cNvSpPr>
            <p:nvPr/>
          </p:nvSpPr>
          <p:spPr bwMode="auto">
            <a:xfrm>
              <a:off x="373063" y="2898775"/>
              <a:ext cx="147638" cy="207963"/>
            </a:xfrm>
            <a:custGeom>
              <a:avLst/>
              <a:gdLst/>
              <a:ahLst/>
              <a:cxnLst>
                <a:cxn ang="0">
                  <a:pos x="39" y="131"/>
                </a:cxn>
                <a:cxn ang="0">
                  <a:pos x="47" y="92"/>
                </a:cxn>
                <a:cxn ang="0">
                  <a:pos x="77" y="42"/>
                </a:cxn>
                <a:cxn ang="0">
                  <a:pos x="93" y="51"/>
                </a:cxn>
                <a:cxn ang="0">
                  <a:pos x="83" y="26"/>
                </a:cxn>
                <a:cxn ang="0">
                  <a:pos x="72" y="0"/>
                </a:cxn>
                <a:cxn ang="0">
                  <a:pos x="45" y="3"/>
                </a:cxn>
                <a:cxn ang="0">
                  <a:pos x="17" y="5"/>
                </a:cxn>
                <a:cxn ang="0">
                  <a:pos x="28" y="12"/>
                </a:cxn>
                <a:cxn ang="0">
                  <a:pos x="13" y="39"/>
                </a:cxn>
                <a:cxn ang="0">
                  <a:pos x="6" y="75"/>
                </a:cxn>
                <a:cxn ang="0">
                  <a:pos x="39" y="131"/>
                </a:cxn>
              </a:cxnLst>
              <a:rect l="0" t="0" r="r" b="b"/>
              <a:pathLst>
                <a:path w="93" h="131">
                  <a:moveTo>
                    <a:pt x="39" y="131"/>
                  </a:moveTo>
                  <a:cubicBezTo>
                    <a:pt x="32" y="113"/>
                    <a:pt x="47" y="92"/>
                    <a:pt x="47" y="92"/>
                  </a:cubicBezTo>
                  <a:cubicBezTo>
                    <a:pt x="77" y="42"/>
                    <a:pt x="77" y="42"/>
                    <a:pt x="77" y="42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83" y="26"/>
                    <a:pt x="83" y="26"/>
                    <a:pt x="83" y="26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45" y="3"/>
                    <a:pt x="45" y="3"/>
                    <a:pt x="45" y="3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0" y="63"/>
                    <a:pt x="6" y="75"/>
                    <a:pt x="6" y="75"/>
                  </a:cubicBezTo>
                  <a:lnTo>
                    <a:pt x="39" y="13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06" name="Freeform 224"/>
            <p:cNvSpPr>
              <a:spLocks/>
            </p:cNvSpPr>
            <p:nvPr/>
          </p:nvSpPr>
          <p:spPr bwMode="auto">
            <a:xfrm>
              <a:off x="444500" y="3043238"/>
              <a:ext cx="103188" cy="92075"/>
            </a:xfrm>
            <a:custGeom>
              <a:avLst/>
              <a:gdLst/>
              <a:ahLst/>
              <a:cxnLst>
                <a:cxn ang="0">
                  <a:pos x="3" y="31"/>
                </a:cxn>
                <a:cxn ang="0">
                  <a:pos x="30" y="58"/>
                </a:cxn>
                <a:cxn ang="0">
                  <a:pos x="64" y="58"/>
                </a:cxn>
                <a:cxn ang="0">
                  <a:pos x="65" y="1"/>
                </a:cxn>
                <a:cxn ang="0">
                  <a:pos x="16" y="0"/>
                </a:cxn>
                <a:cxn ang="0">
                  <a:pos x="3" y="31"/>
                </a:cxn>
              </a:cxnLst>
              <a:rect l="0" t="0" r="r" b="b"/>
              <a:pathLst>
                <a:path w="65" h="58">
                  <a:moveTo>
                    <a:pt x="3" y="31"/>
                  </a:moveTo>
                  <a:cubicBezTo>
                    <a:pt x="2" y="54"/>
                    <a:pt x="30" y="58"/>
                    <a:pt x="30" y="58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5" y="1"/>
                    <a:pt x="65" y="1"/>
                    <a:pt x="65" y="1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0" y="20"/>
                    <a:pt x="3" y="31"/>
                    <a:pt x="3" y="3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07" name="Freeform 225"/>
            <p:cNvSpPr>
              <a:spLocks/>
            </p:cNvSpPr>
            <p:nvPr/>
          </p:nvSpPr>
          <p:spPr bwMode="auto">
            <a:xfrm>
              <a:off x="536575" y="2762250"/>
              <a:ext cx="188913" cy="150813"/>
            </a:xfrm>
            <a:custGeom>
              <a:avLst/>
              <a:gdLst/>
              <a:ahLst/>
              <a:cxnLst>
                <a:cxn ang="0">
                  <a:pos x="69" y="91"/>
                </a:cxn>
                <a:cxn ang="0">
                  <a:pos x="96" y="95"/>
                </a:cxn>
                <a:cxn ang="0">
                  <a:pos x="108" y="70"/>
                </a:cxn>
                <a:cxn ang="0">
                  <a:pos x="119" y="45"/>
                </a:cxn>
                <a:cxn ang="0">
                  <a:pos x="108" y="51"/>
                </a:cxn>
                <a:cxn ang="0">
                  <a:pos x="92" y="24"/>
                </a:cxn>
                <a:cxn ang="0">
                  <a:pos x="65" y="0"/>
                </a:cxn>
                <a:cxn ang="0">
                  <a:pos x="0" y="0"/>
                </a:cxn>
                <a:cxn ang="0">
                  <a:pos x="30" y="27"/>
                </a:cxn>
                <a:cxn ang="0">
                  <a:pos x="58" y="78"/>
                </a:cxn>
                <a:cxn ang="0">
                  <a:pos x="41" y="87"/>
                </a:cxn>
                <a:cxn ang="0">
                  <a:pos x="69" y="91"/>
                </a:cxn>
              </a:cxnLst>
              <a:rect l="0" t="0" r="r" b="b"/>
              <a:pathLst>
                <a:path w="119" h="95">
                  <a:moveTo>
                    <a:pt x="69" y="91"/>
                  </a:moveTo>
                  <a:cubicBezTo>
                    <a:pt x="96" y="95"/>
                    <a:pt x="96" y="95"/>
                    <a:pt x="96" y="95"/>
                  </a:cubicBezTo>
                  <a:cubicBezTo>
                    <a:pt x="108" y="70"/>
                    <a:pt x="108" y="70"/>
                    <a:pt x="108" y="70"/>
                  </a:cubicBezTo>
                  <a:cubicBezTo>
                    <a:pt x="119" y="45"/>
                    <a:pt x="119" y="45"/>
                    <a:pt x="119" y="45"/>
                  </a:cubicBezTo>
                  <a:cubicBezTo>
                    <a:pt x="108" y="51"/>
                    <a:pt x="108" y="51"/>
                    <a:pt x="108" y="51"/>
                  </a:cubicBezTo>
                  <a:cubicBezTo>
                    <a:pt x="92" y="24"/>
                    <a:pt x="92" y="24"/>
                    <a:pt x="92" y="24"/>
                  </a:cubicBezTo>
                  <a:cubicBezTo>
                    <a:pt x="78" y="1"/>
                    <a:pt x="65" y="0"/>
                    <a:pt x="6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3"/>
                    <a:pt x="30" y="27"/>
                    <a:pt x="30" y="27"/>
                  </a:cubicBezTo>
                  <a:cubicBezTo>
                    <a:pt x="58" y="78"/>
                    <a:pt x="58" y="78"/>
                    <a:pt x="58" y="78"/>
                  </a:cubicBezTo>
                  <a:cubicBezTo>
                    <a:pt x="41" y="87"/>
                    <a:pt x="41" y="87"/>
                    <a:pt x="41" y="87"/>
                  </a:cubicBezTo>
                  <a:lnTo>
                    <a:pt x="69" y="9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08" name="Freeform 226"/>
            <p:cNvSpPr>
              <a:spLocks/>
            </p:cNvSpPr>
            <p:nvPr/>
          </p:nvSpPr>
          <p:spPr bwMode="auto">
            <a:xfrm>
              <a:off x="455613" y="2759075"/>
              <a:ext cx="119063" cy="128588"/>
            </a:xfrm>
            <a:custGeom>
              <a:avLst/>
              <a:gdLst/>
              <a:ahLst/>
              <a:cxnLst>
                <a:cxn ang="0">
                  <a:pos x="75" y="39"/>
                </a:cxn>
                <a:cxn ang="0">
                  <a:pos x="54" y="12"/>
                </a:cxn>
                <a:cxn ang="0">
                  <a:pos x="18" y="22"/>
                </a:cxn>
                <a:cxn ang="0">
                  <a:pos x="0" y="51"/>
                </a:cxn>
                <a:cxn ang="0">
                  <a:pos x="49" y="81"/>
                </a:cxn>
                <a:cxn ang="0">
                  <a:pos x="75" y="39"/>
                </a:cxn>
              </a:cxnLst>
              <a:rect l="0" t="0" r="r" b="b"/>
              <a:pathLst>
                <a:path w="75" h="81">
                  <a:moveTo>
                    <a:pt x="75" y="39"/>
                  </a:moveTo>
                  <a:cubicBezTo>
                    <a:pt x="65" y="15"/>
                    <a:pt x="54" y="12"/>
                    <a:pt x="54" y="12"/>
                  </a:cubicBezTo>
                  <a:cubicBezTo>
                    <a:pt x="35" y="0"/>
                    <a:pt x="18" y="22"/>
                    <a:pt x="18" y="22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49" y="81"/>
                    <a:pt x="49" y="81"/>
                    <a:pt x="49" y="81"/>
                  </a:cubicBezTo>
                  <a:lnTo>
                    <a:pt x="75" y="3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65" name="Прямоугольник 64"/>
          <p:cNvSpPr/>
          <p:nvPr/>
        </p:nvSpPr>
        <p:spPr>
          <a:xfrm>
            <a:off x="1109693" y="3150437"/>
            <a:ext cx="417433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Разрозненность: разные </a:t>
            </a: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форматы </a:t>
            </a: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сбора данных, </a:t>
            </a: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различные </a:t>
            </a: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справочники и системы, нет </a:t>
            </a: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совместимости </a:t>
            </a: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данных</a:t>
            </a:r>
            <a:endParaRPr lang="ru-RU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09" name="Freeform 64"/>
          <p:cNvSpPr>
            <a:spLocks noEditPoints="1"/>
          </p:cNvSpPr>
          <p:nvPr/>
        </p:nvSpPr>
        <p:spPr bwMode="auto">
          <a:xfrm>
            <a:off x="440633" y="3183989"/>
            <a:ext cx="503767" cy="355600"/>
          </a:xfrm>
          <a:custGeom>
            <a:avLst/>
            <a:gdLst/>
            <a:ahLst/>
            <a:cxnLst>
              <a:cxn ang="0">
                <a:pos x="136" y="59"/>
              </a:cxn>
              <a:cxn ang="0">
                <a:pos x="48" y="16"/>
              </a:cxn>
              <a:cxn ang="0">
                <a:pos x="0" y="59"/>
              </a:cxn>
              <a:cxn ang="0">
                <a:pos x="249" y="175"/>
              </a:cxn>
              <a:cxn ang="0">
                <a:pos x="179" y="75"/>
              </a:cxn>
              <a:cxn ang="0">
                <a:pos x="201" y="97"/>
              </a:cxn>
              <a:cxn ang="0">
                <a:pos x="179" y="75"/>
              </a:cxn>
              <a:cxn ang="0">
                <a:pos x="163" y="130"/>
              </a:cxn>
              <a:cxn ang="0">
                <a:pos x="184" y="109"/>
              </a:cxn>
              <a:cxn ang="0">
                <a:pos x="146" y="75"/>
              </a:cxn>
              <a:cxn ang="0">
                <a:pos x="168" y="97"/>
              </a:cxn>
              <a:cxn ang="0">
                <a:pos x="146" y="75"/>
              </a:cxn>
              <a:cxn ang="0">
                <a:pos x="130" y="130"/>
              </a:cxn>
              <a:cxn ang="0">
                <a:pos x="152" y="109"/>
              </a:cxn>
              <a:cxn ang="0">
                <a:pos x="114" y="75"/>
              </a:cxn>
              <a:cxn ang="0">
                <a:pos x="135" y="97"/>
              </a:cxn>
              <a:cxn ang="0">
                <a:pos x="114" y="75"/>
              </a:cxn>
              <a:cxn ang="0">
                <a:pos x="97" y="130"/>
              </a:cxn>
              <a:cxn ang="0">
                <a:pos x="119" y="109"/>
              </a:cxn>
              <a:cxn ang="0">
                <a:pos x="81" y="75"/>
              </a:cxn>
              <a:cxn ang="0">
                <a:pos x="103" y="97"/>
              </a:cxn>
              <a:cxn ang="0">
                <a:pos x="81" y="75"/>
              </a:cxn>
              <a:cxn ang="0">
                <a:pos x="65" y="130"/>
              </a:cxn>
              <a:cxn ang="0">
                <a:pos x="86" y="109"/>
              </a:cxn>
              <a:cxn ang="0">
                <a:pos x="48" y="75"/>
              </a:cxn>
              <a:cxn ang="0">
                <a:pos x="70" y="97"/>
              </a:cxn>
              <a:cxn ang="0">
                <a:pos x="48" y="75"/>
              </a:cxn>
              <a:cxn ang="0">
                <a:pos x="37" y="75"/>
              </a:cxn>
              <a:cxn ang="0">
                <a:pos x="16" y="97"/>
              </a:cxn>
              <a:cxn ang="0">
                <a:pos x="32" y="109"/>
              </a:cxn>
              <a:cxn ang="0">
                <a:pos x="54" y="130"/>
              </a:cxn>
              <a:cxn ang="0">
                <a:pos x="32" y="109"/>
              </a:cxn>
              <a:cxn ang="0">
                <a:pos x="43" y="164"/>
              </a:cxn>
              <a:cxn ang="0">
                <a:pos x="206" y="143"/>
              </a:cxn>
              <a:cxn ang="0">
                <a:pos x="217" y="130"/>
              </a:cxn>
              <a:cxn ang="0">
                <a:pos x="195" y="109"/>
              </a:cxn>
              <a:cxn ang="0">
                <a:pos x="217" y="130"/>
              </a:cxn>
              <a:cxn ang="0">
                <a:pos x="212" y="97"/>
              </a:cxn>
              <a:cxn ang="0">
                <a:pos x="233" y="75"/>
              </a:cxn>
            </a:cxnLst>
            <a:rect l="0" t="0" r="r" b="b"/>
            <a:pathLst>
              <a:path w="249" h="175">
                <a:moveTo>
                  <a:pt x="249" y="59"/>
                </a:moveTo>
                <a:cubicBezTo>
                  <a:pt x="136" y="59"/>
                  <a:pt x="136" y="59"/>
                  <a:pt x="136" y="59"/>
                </a:cubicBezTo>
                <a:cubicBezTo>
                  <a:pt x="119" y="27"/>
                  <a:pt x="84" y="14"/>
                  <a:pt x="51" y="3"/>
                </a:cubicBezTo>
                <a:cubicBezTo>
                  <a:pt x="43" y="0"/>
                  <a:pt x="39" y="14"/>
                  <a:pt x="48" y="16"/>
                </a:cubicBezTo>
                <a:cubicBezTo>
                  <a:pt x="74" y="25"/>
                  <a:pt x="104" y="35"/>
                  <a:pt x="120" y="59"/>
                </a:cubicBezTo>
                <a:cubicBezTo>
                  <a:pt x="0" y="59"/>
                  <a:pt x="0" y="59"/>
                  <a:pt x="0" y="59"/>
                </a:cubicBezTo>
                <a:cubicBezTo>
                  <a:pt x="0" y="175"/>
                  <a:pt x="0" y="175"/>
                  <a:pt x="0" y="175"/>
                </a:cubicBezTo>
                <a:cubicBezTo>
                  <a:pt x="249" y="175"/>
                  <a:pt x="249" y="175"/>
                  <a:pt x="249" y="175"/>
                </a:cubicBezTo>
                <a:lnTo>
                  <a:pt x="249" y="59"/>
                </a:lnTo>
                <a:close/>
                <a:moveTo>
                  <a:pt x="179" y="75"/>
                </a:moveTo>
                <a:cubicBezTo>
                  <a:pt x="201" y="75"/>
                  <a:pt x="201" y="75"/>
                  <a:pt x="201" y="75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179" y="97"/>
                  <a:pt x="179" y="97"/>
                  <a:pt x="179" y="97"/>
                </a:cubicBezTo>
                <a:lnTo>
                  <a:pt x="179" y="75"/>
                </a:lnTo>
                <a:close/>
                <a:moveTo>
                  <a:pt x="184" y="130"/>
                </a:moveTo>
                <a:cubicBezTo>
                  <a:pt x="163" y="130"/>
                  <a:pt x="163" y="130"/>
                  <a:pt x="163" y="130"/>
                </a:cubicBezTo>
                <a:cubicBezTo>
                  <a:pt x="163" y="109"/>
                  <a:pt x="163" y="109"/>
                  <a:pt x="163" y="109"/>
                </a:cubicBezTo>
                <a:cubicBezTo>
                  <a:pt x="184" y="109"/>
                  <a:pt x="184" y="109"/>
                  <a:pt x="184" y="109"/>
                </a:cubicBezTo>
                <a:lnTo>
                  <a:pt x="184" y="130"/>
                </a:lnTo>
                <a:close/>
                <a:moveTo>
                  <a:pt x="146" y="75"/>
                </a:moveTo>
                <a:cubicBezTo>
                  <a:pt x="168" y="75"/>
                  <a:pt x="168" y="75"/>
                  <a:pt x="168" y="75"/>
                </a:cubicBezTo>
                <a:cubicBezTo>
                  <a:pt x="168" y="97"/>
                  <a:pt x="168" y="97"/>
                  <a:pt x="168" y="97"/>
                </a:cubicBezTo>
                <a:cubicBezTo>
                  <a:pt x="146" y="97"/>
                  <a:pt x="146" y="97"/>
                  <a:pt x="146" y="97"/>
                </a:cubicBezTo>
                <a:lnTo>
                  <a:pt x="146" y="75"/>
                </a:lnTo>
                <a:close/>
                <a:moveTo>
                  <a:pt x="152" y="130"/>
                </a:moveTo>
                <a:cubicBezTo>
                  <a:pt x="130" y="130"/>
                  <a:pt x="130" y="130"/>
                  <a:pt x="130" y="130"/>
                </a:cubicBezTo>
                <a:cubicBezTo>
                  <a:pt x="130" y="109"/>
                  <a:pt x="130" y="109"/>
                  <a:pt x="130" y="109"/>
                </a:cubicBezTo>
                <a:cubicBezTo>
                  <a:pt x="152" y="109"/>
                  <a:pt x="152" y="109"/>
                  <a:pt x="152" y="109"/>
                </a:cubicBezTo>
                <a:lnTo>
                  <a:pt x="152" y="130"/>
                </a:lnTo>
                <a:close/>
                <a:moveTo>
                  <a:pt x="114" y="75"/>
                </a:moveTo>
                <a:cubicBezTo>
                  <a:pt x="135" y="75"/>
                  <a:pt x="135" y="75"/>
                  <a:pt x="135" y="75"/>
                </a:cubicBezTo>
                <a:cubicBezTo>
                  <a:pt x="135" y="97"/>
                  <a:pt x="135" y="97"/>
                  <a:pt x="135" y="97"/>
                </a:cubicBezTo>
                <a:cubicBezTo>
                  <a:pt x="114" y="97"/>
                  <a:pt x="114" y="97"/>
                  <a:pt x="114" y="97"/>
                </a:cubicBezTo>
                <a:lnTo>
                  <a:pt x="114" y="75"/>
                </a:lnTo>
                <a:close/>
                <a:moveTo>
                  <a:pt x="119" y="130"/>
                </a:moveTo>
                <a:cubicBezTo>
                  <a:pt x="97" y="130"/>
                  <a:pt x="97" y="130"/>
                  <a:pt x="97" y="130"/>
                </a:cubicBezTo>
                <a:cubicBezTo>
                  <a:pt x="97" y="109"/>
                  <a:pt x="97" y="109"/>
                  <a:pt x="97" y="109"/>
                </a:cubicBezTo>
                <a:cubicBezTo>
                  <a:pt x="119" y="109"/>
                  <a:pt x="119" y="109"/>
                  <a:pt x="119" y="109"/>
                </a:cubicBezTo>
                <a:lnTo>
                  <a:pt x="119" y="130"/>
                </a:lnTo>
                <a:close/>
                <a:moveTo>
                  <a:pt x="81" y="75"/>
                </a:moveTo>
                <a:cubicBezTo>
                  <a:pt x="103" y="75"/>
                  <a:pt x="103" y="75"/>
                  <a:pt x="103" y="75"/>
                </a:cubicBezTo>
                <a:cubicBezTo>
                  <a:pt x="103" y="97"/>
                  <a:pt x="103" y="97"/>
                  <a:pt x="103" y="97"/>
                </a:cubicBezTo>
                <a:cubicBezTo>
                  <a:pt x="81" y="97"/>
                  <a:pt x="81" y="97"/>
                  <a:pt x="81" y="97"/>
                </a:cubicBezTo>
                <a:lnTo>
                  <a:pt x="81" y="75"/>
                </a:lnTo>
                <a:close/>
                <a:moveTo>
                  <a:pt x="86" y="130"/>
                </a:moveTo>
                <a:cubicBezTo>
                  <a:pt x="65" y="130"/>
                  <a:pt x="65" y="130"/>
                  <a:pt x="65" y="130"/>
                </a:cubicBezTo>
                <a:cubicBezTo>
                  <a:pt x="65" y="109"/>
                  <a:pt x="65" y="109"/>
                  <a:pt x="65" y="109"/>
                </a:cubicBezTo>
                <a:cubicBezTo>
                  <a:pt x="86" y="109"/>
                  <a:pt x="86" y="109"/>
                  <a:pt x="86" y="109"/>
                </a:cubicBezTo>
                <a:lnTo>
                  <a:pt x="86" y="130"/>
                </a:lnTo>
                <a:close/>
                <a:moveTo>
                  <a:pt x="48" y="75"/>
                </a:moveTo>
                <a:cubicBezTo>
                  <a:pt x="70" y="75"/>
                  <a:pt x="70" y="75"/>
                  <a:pt x="70" y="75"/>
                </a:cubicBezTo>
                <a:cubicBezTo>
                  <a:pt x="70" y="97"/>
                  <a:pt x="70" y="97"/>
                  <a:pt x="70" y="97"/>
                </a:cubicBezTo>
                <a:cubicBezTo>
                  <a:pt x="48" y="97"/>
                  <a:pt x="48" y="97"/>
                  <a:pt x="48" y="97"/>
                </a:cubicBezTo>
                <a:lnTo>
                  <a:pt x="48" y="75"/>
                </a:lnTo>
                <a:close/>
                <a:moveTo>
                  <a:pt x="16" y="75"/>
                </a:moveTo>
                <a:cubicBezTo>
                  <a:pt x="37" y="75"/>
                  <a:pt x="37" y="75"/>
                  <a:pt x="37" y="75"/>
                </a:cubicBezTo>
                <a:cubicBezTo>
                  <a:pt x="37" y="97"/>
                  <a:pt x="37" y="97"/>
                  <a:pt x="37" y="97"/>
                </a:cubicBezTo>
                <a:cubicBezTo>
                  <a:pt x="16" y="97"/>
                  <a:pt x="16" y="97"/>
                  <a:pt x="16" y="97"/>
                </a:cubicBezTo>
                <a:lnTo>
                  <a:pt x="16" y="75"/>
                </a:lnTo>
                <a:close/>
                <a:moveTo>
                  <a:pt x="32" y="109"/>
                </a:moveTo>
                <a:cubicBezTo>
                  <a:pt x="54" y="109"/>
                  <a:pt x="54" y="109"/>
                  <a:pt x="54" y="109"/>
                </a:cubicBezTo>
                <a:cubicBezTo>
                  <a:pt x="54" y="130"/>
                  <a:pt x="54" y="130"/>
                  <a:pt x="54" y="130"/>
                </a:cubicBezTo>
                <a:cubicBezTo>
                  <a:pt x="32" y="130"/>
                  <a:pt x="32" y="130"/>
                  <a:pt x="32" y="130"/>
                </a:cubicBezTo>
                <a:lnTo>
                  <a:pt x="32" y="109"/>
                </a:lnTo>
                <a:close/>
                <a:moveTo>
                  <a:pt x="206" y="164"/>
                </a:moveTo>
                <a:cubicBezTo>
                  <a:pt x="43" y="164"/>
                  <a:pt x="43" y="164"/>
                  <a:pt x="43" y="164"/>
                </a:cubicBezTo>
                <a:cubicBezTo>
                  <a:pt x="43" y="143"/>
                  <a:pt x="43" y="143"/>
                  <a:pt x="43" y="143"/>
                </a:cubicBezTo>
                <a:cubicBezTo>
                  <a:pt x="206" y="143"/>
                  <a:pt x="206" y="143"/>
                  <a:pt x="206" y="143"/>
                </a:cubicBezTo>
                <a:lnTo>
                  <a:pt x="206" y="164"/>
                </a:lnTo>
                <a:close/>
                <a:moveTo>
                  <a:pt x="217" y="130"/>
                </a:moveTo>
                <a:cubicBezTo>
                  <a:pt x="195" y="130"/>
                  <a:pt x="195" y="130"/>
                  <a:pt x="195" y="130"/>
                </a:cubicBezTo>
                <a:cubicBezTo>
                  <a:pt x="195" y="109"/>
                  <a:pt x="195" y="109"/>
                  <a:pt x="195" y="109"/>
                </a:cubicBezTo>
                <a:cubicBezTo>
                  <a:pt x="217" y="109"/>
                  <a:pt x="217" y="109"/>
                  <a:pt x="217" y="109"/>
                </a:cubicBezTo>
                <a:lnTo>
                  <a:pt x="217" y="130"/>
                </a:lnTo>
                <a:close/>
                <a:moveTo>
                  <a:pt x="233" y="97"/>
                </a:moveTo>
                <a:cubicBezTo>
                  <a:pt x="212" y="97"/>
                  <a:pt x="212" y="97"/>
                  <a:pt x="212" y="97"/>
                </a:cubicBezTo>
                <a:cubicBezTo>
                  <a:pt x="212" y="75"/>
                  <a:pt x="212" y="75"/>
                  <a:pt x="212" y="75"/>
                </a:cubicBezTo>
                <a:cubicBezTo>
                  <a:pt x="233" y="75"/>
                  <a:pt x="233" y="75"/>
                  <a:pt x="233" y="75"/>
                </a:cubicBezTo>
                <a:lnTo>
                  <a:pt x="233" y="97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70" name="Прямоугольник 69"/>
          <p:cNvSpPr/>
          <p:nvPr/>
        </p:nvSpPr>
        <p:spPr>
          <a:xfrm>
            <a:off x="6444879" y="5651113"/>
            <a:ext cx="211944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accent2">
                    <a:lumMod val="7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Дублирование отчетности</a:t>
            </a:r>
            <a:r>
              <a:rPr lang="ru-RU" sz="1400" dirty="0">
                <a:solidFill>
                  <a:schemeClr val="accent2">
                    <a:lumMod val="7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ru-RU" sz="1400" dirty="0" smtClean="0">
              <a:solidFill>
                <a:schemeClr val="accent2">
                  <a:lumMod val="75000"/>
                </a:schemeClr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ru-RU" sz="1400" dirty="0" smtClean="0">
                <a:solidFill>
                  <a:schemeClr val="accent2">
                    <a:lumMod val="7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до </a:t>
            </a:r>
            <a:r>
              <a:rPr lang="ru-RU" sz="1400" b="1" dirty="0">
                <a:solidFill>
                  <a:schemeClr val="accent2">
                    <a:lumMod val="7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20%</a:t>
            </a:r>
            <a:r>
              <a:rPr lang="ru-RU" sz="1400" dirty="0">
                <a:solidFill>
                  <a:schemeClr val="accent2">
                    <a:lumMod val="7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- предприятия </a:t>
            </a:r>
            <a:r>
              <a:rPr lang="ru-RU" sz="1400" dirty="0" smtClean="0">
                <a:solidFill>
                  <a:schemeClr val="accent2">
                    <a:lumMod val="7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сдают одну информацию в разные места</a:t>
            </a:r>
            <a:endParaRPr lang="ru-RU" sz="1400" dirty="0">
              <a:solidFill>
                <a:schemeClr val="accent2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71" name="Прямоугольник 70"/>
          <p:cNvSpPr/>
          <p:nvPr/>
        </p:nvSpPr>
        <p:spPr>
          <a:xfrm>
            <a:off x="6450508" y="2382786"/>
            <a:ext cx="2153929" cy="8356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tabLst>
                <a:tab pos="457200" algn="l"/>
              </a:tabLst>
            </a:pPr>
            <a:r>
              <a:rPr lang="ru-RU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Средний срок </a:t>
            </a:r>
            <a:endParaRPr lang="ru-RU" sz="1400" b="1" dirty="0" smtClean="0">
              <a:solidFill>
                <a:schemeClr val="tx1">
                  <a:lumMod val="95000"/>
                  <a:lumOff val="5000"/>
                </a:schemeClr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>
              <a:lnSpc>
                <a:spcPct val="115000"/>
              </a:lnSpc>
              <a:tabLst>
                <a:tab pos="457200" algn="l"/>
              </a:tabLst>
            </a:pPr>
            <a:r>
              <a:rPr lang="ru-RU" sz="14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от </a:t>
            </a:r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подачи отчета до его получения – </a:t>
            </a:r>
            <a:r>
              <a:rPr lang="ru-RU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6 дней</a:t>
            </a:r>
          </a:p>
        </p:txBody>
      </p:sp>
      <p:sp>
        <p:nvSpPr>
          <p:cNvPr id="72" name="Прямоугольник 71"/>
          <p:cNvSpPr/>
          <p:nvPr/>
        </p:nvSpPr>
        <p:spPr>
          <a:xfrm>
            <a:off x="8537980" y="5644205"/>
            <a:ext cx="1770985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accent3">
                    <a:lumMod val="50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Нет единой точка входа</a:t>
            </a:r>
            <a:r>
              <a:rPr lang="ru-RU" sz="1400" dirty="0">
                <a:solidFill>
                  <a:schemeClr val="accent3">
                    <a:lumMod val="50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статистической отчетности для бизнеса</a:t>
            </a:r>
            <a:endParaRPr lang="ru-RU" sz="1400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74" name="Прямоугольник 73"/>
          <p:cNvSpPr/>
          <p:nvPr/>
        </p:nvSpPr>
        <p:spPr>
          <a:xfrm>
            <a:off x="1113950" y="4542874"/>
            <a:ext cx="352186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Нет единой базы </a:t>
            </a: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региональной </a:t>
            </a: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и муниципальной </a:t>
            </a: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статистики: разные НСИ, справочники</a:t>
            </a:r>
            <a:endParaRPr lang="ru-RU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310" name="Freeform 15"/>
          <p:cNvSpPr>
            <a:spLocks noEditPoints="1"/>
          </p:cNvSpPr>
          <p:nvPr/>
        </p:nvSpPr>
        <p:spPr bwMode="auto">
          <a:xfrm>
            <a:off x="425277" y="4626490"/>
            <a:ext cx="568528" cy="426396"/>
          </a:xfrm>
          <a:custGeom>
            <a:avLst/>
            <a:gdLst/>
            <a:ahLst/>
            <a:cxnLst>
              <a:cxn ang="0">
                <a:pos x="168" y="126"/>
              </a:cxn>
              <a:cxn ang="0">
                <a:pos x="0" y="126"/>
              </a:cxn>
              <a:cxn ang="0">
                <a:pos x="0" y="0"/>
              </a:cxn>
              <a:cxn ang="0">
                <a:pos x="10" y="0"/>
              </a:cxn>
              <a:cxn ang="0">
                <a:pos x="10" y="115"/>
              </a:cxn>
              <a:cxn ang="0">
                <a:pos x="168" y="115"/>
              </a:cxn>
              <a:cxn ang="0">
                <a:pos x="168" y="126"/>
              </a:cxn>
              <a:cxn ang="0">
                <a:pos x="54" y="104"/>
              </a:cxn>
              <a:cxn ang="0">
                <a:pos x="32" y="104"/>
              </a:cxn>
              <a:cxn ang="0">
                <a:pos x="32" y="63"/>
              </a:cxn>
              <a:cxn ang="0">
                <a:pos x="54" y="63"/>
              </a:cxn>
              <a:cxn ang="0">
                <a:pos x="54" y="104"/>
              </a:cxn>
              <a:cxn ang="0">
                <a:pos x="84" y="104"/>
              </a:cxn>
              <a:cxn ang="0">
                <a:pos x="64" y="104"/>
              </a:cxn>
              <a:cxn ang="0">
                <a:pos x="64" y="19"/>
              </a:cxn>
              <a:cxn ang="0">
                <a:pos x="84" y="19"/>
              </a:cxn>
              <a:cxn ang="0">
                <a:pos x="84" y="104"/>
              </a:cxn>
              <a:cxn ang="0">
                <a:pos x="116" y="104"/>
              </a:cxn>
              <a:cxn ang="0">
                <a:pos x="95" y="104"/>
              </a:cxn>
              <a:cxn ang="0">
                <a:pos x="95" y="41"/>
              </a:cxn>
              <a:cxn ang="0">
                <a:pos x="116" y="41"/>
              </a:cxn>
              <a:cxn ang="0">
                <a:pos x="116" y="104"/>
              </a:cxn>
              <a:cxn ang="0">
                <a:pos x="147" y="104"/>
              </a:cxn>
              <a:cxn ang="0">
                <a:pos x="127" y="104"/>
              </a:cxn>
              <a:cxn ang="0">
                <a:pos x="127" y="9"/>
              </a:cxn>
              <a:cxn ang="0">
                <a:pos x="147" y="9"/>
              </a:cxn>
              <a:cxn ang="0">
                <a:pos x="147" y="104"/>
              </a:cxn>
            </a:cxnLst>
            <a:rect l="0" t="0" r="r" b="b"/>
            <a:pathLst>
              <a:path w="168" h="126">
                <a:moveTo>
                  <a:pt x="168" y="126"/>
                </a:moveTo>
                <a:lnTo>
                  <a:pt x="0" y="126"/>
                </a:lnTo>
                <a:lnTo>
                  <a:pt x="0" y="0"/>
                </a:lnTo>
                <a:lnTo>
                  <a:pt x="10" y="0"/>
                </a:lnTo>
                <a:lnTo>
                  <a:pt x="10" y="115"/>
                </a:lnTo>
                <a:lnTo>
                  <a:pt x="168" y="115"/>
                </a:lnTo>
                <a:lnTo>
                  <a:pt x="168" y="126"/>
                </a:lnTo>
                <a:close/>
                <a:moveTo>
                  <a:pt x="54" y="104"/>
                </a:moveTo>
                <a:lnTo>
                  <a:pt x="32" y="104"/>
                </a:lnTo>
                <a:lnTo>
                  <a:pt x="32" y="63"/>
                </a:lnTo>
                <a:lnTo>
                  <a:pt x="54" y="63"/>
                </a:lnTo>
                <a:lnTo>
                  <a:pt x="54" y="104"/>
                </a:lnTo>
                <a:close/>
                <a:moveTo>
                  <a:pt x="84" y="104"/>
                </a:moveTo>
                <a:lnTo>
                  <a:pt x="64" y="104"/>
                </a:lnTo>
                <a:lnTo>
                  <a:pt x="64" y="19"/>
                </a:lnTo>
                <a:lnTo>
                  <a:pt x="84" y="19"/>
                </a:lnTo>
                <a:lnTo>
                  <a:pt x="84" y="104"/>
                </a:lnTo>
                <a:close/>
                <a:moveTo>
                  <a:pt x="116" y="104"/>
                </a:moveTo>
                <a:lnTo>
                  <a:pt x="95" y="104"/>
                </a:lnTo>
                <a:lnTo>
                  <a:pt x="95" y="41"/>
                </a:lnTo>
                <a:lnTo>
                  <a:pt x="116" y="41"/>
                </a:lnTo>
                <a:lnTo>
                  <a:pt x="116" y="104"/>
                </a:lnTo>
                <a:close/>
                <a:moveTo>
                  <a:pt x="147" y="104"/>
                </a:moveTo>
                <a:lnTo>
                  <a:pt x="127" y="104"/>
                </a:lnTo>
                <a:lnTo>
                  <a:pt x="127" y="9"/>
                </a:lnTo>
                <a:lnTo>
                  <a:pt x="147" y="9"/>
                </a:lnTo>
                <a:lnTo>
                  <a:pt x="147" y="10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75" name="Прямоугольник 74"/>
          <p:cNvSpPr/>
          <p:nvPr/>
        </p:nvSpPr>
        <p:spPr>
          <a:xfrm>
            <a:off x="10011346" y="5655974"/>
            <a:ext cx="210622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6C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ЕМИСС устарела:</a:t>
            </a:r>
            <a:r>
              <a:rPr lang="ru-RU" sz="1400" dirty="0" smtClean="0">
                <a:solidFill>
                  <a:srgbClr val="6C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>
                <a:solidFill>
                  <a:srgbClr val="6C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отсутствуют </a:t>
            </a:r>
            <a:r>
              <a:rPr lang="ru-RU" sz="1400" dirty="0" smtClean="0">
                <a:solidFill>
                  <a:srgbClr val="6C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временные </a:t>
            </a:r>
            <a:r>
              <a:rPr lang="ru-RU" sz="1400" dirty="0">
                <a:solidFill>
                  <a:srgbClr val="6C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ряды, сравнения </a:t>
            </a:r>
            <a:r>
              <a:rPr lang="ru-RU" sz="1400" dirty="0" smtClean="0">
                <a:solidFill>
                  <a:srgbClr val="6C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показателей, </a:t>
            </a:r>
            <a:r>
              <a:rPr lang="en-US" sz="1400" dirty="0" smtClean="0">
                <a:solidFill>
                  <a:srgbClr val="6C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BI</a:t>
            </a:r>
            <a:endParaRPr lang="ru-RU" sz="1400" dirty="0">
              <a:solidFill>
                <a:srgbClr val="6C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731158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3B456C34-78A5-4A48-B8EA-101F8F428325}"/>
              </a:ext>
            </a:extLst>
          </p:cNvPr>
          <p:cNvGrpSpPr/>
          <p:nvPr/>
        </p:nvGrpSpPr>
        <p:grpSpPr>
          <a:xfrm>
            <a:off x="4474668" y="1553194"/>
            <a:ext cx="1325651" cy="1479340"/>
            <a:chOff x="4474668" y="1989138"/>
            <a:chExt cx="1325651" cy="1479340"/>
          </a:xfrm>
        </p:grpSpPr>
        <p:sp>
          <p:nvSpPr>
            <p:cNvPr id="23" name="Freeform 22"/>
            <p:cNvSpPr/>
            <p:nvPr/>
          </p:nvSpPr>
          <p:spPr>
            <a:xfrm>
              <a:off x="4474668" y="1989138"/>
              <a:ext cx="1325651" cy="1479340"/>
            </a:xfrm>
            <a:custGeom>
              <a:avLst/>
              <a:gdLst>
                <a:gd name="connsiteX0" fmla="*/ 665158 w 1325651"/>
                <a:gd name="connsiteY0" fmla="*/ 0 h 1479340"/>
                <a:gd name="connsiteX1" fmla="*/ 1325651 w 1325651"/>
                <a:gd name="connsiteY1" fmla="*/ 324075 h 1479340"/>
                <a:gd name="connsiteX2" fmla="*/ 1325651 w 1325651"/>
                <a:gd name="connsiteY2" fmla="*/ 1155265 h 1479340"/>
                <a:gd name="connsiteX3" fmla="*/ 665158 w 1325651"/>
                <a:gd name="connsiteY3" fmla="*/ 1479340 h 1479340"/>
                <a:gd name="connsiteX4" fmla="*/ 665154 w 1325651"/>
                <a:gd name="connsiteY4" fmla="*/ 0 h 1479340"/>
                <a:gd name="connsiteX5" fmla="*/ 665154 w 1325651"/>
                <a:gd name="connsiteY5" fmla="*/ 1479340 h 1479340"/>
                <a:gd name="connsiteX6" fmla="*/ 0 w 1325651"/>
                <a:gd name="connsiteY6" fmla="*/ 1155265 h 1479340"/>
                <a:gd name="connsiteX7" fmla="*/ 0 w 1325651"/>
                <a:gd name="connsiteY7" fmla="*/ 324075 h 147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5651" h="1479340">
                  <a:moveTo>
                    <a:pt x="665158" y="0"/>
                  </a:moveTo>
                  <a:lnTo>
                    <a:pt x="1325651" y="324075"/>
                  </a:lnTo>
                  <a:lnTo>
                    <a:pt x="1325651" y="1155265"/>
                  </a:lnTo>
                  <a:lnTo>
                    <a:pt x="665158" y="1479340"/>
                  </a:lnTo>
                  <a:close/>
                  <a:moveTo>
                    <a:pt x="665154" y="0"/>
                  </a:moveTo>
                  <a:lnTo>
                    <a:pt x="665154" y="1479340"/>
                  </a:lnTo>
                  <a:lnTo>
                    <a:pt x="0" y="1155265"/>
                  </a:lnTo>
                  <a:lnTo>
                    <a:pt x="0" y="324075"/>
                  </a:lnTo>
                  <a:close/>
                </a:path>
              </a:pathLst>
            </a:custGeom>
            <a:gradFill>
              <a:gsLst>
                <a:gs pos="50000">
                  <a:schemeClr val="accent2"/>
                </a:gs>
                <a:gs pos="51000">
                  <a:schemeClr val="accent2">
                    <a:lumMod val="75000"/>
                  </a:schemeClr>
                </a:gs>
              </a:gsLst>
              <a:lin ang="27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" name="TextBox 1"/>
            <p:cNvSpPr txBox="1"/>
            <p:nvPr/>
          </p:nvSpPr>
          <p:spPr>
            <a:xfrm>
              <a:off x="4508548" y="2323124"/>
              <a:ext cx="1257890" cy="811367"/>
            </a:xfrm>
            <a:prstGeom prst="rect">
              <a:avLst/>
            </a:prstGeom>
            <a:noFill/>
          </p:spPr>
          <p:txBody>
            <a:bodyPr wrap="none" lIns="72000" tIns="36000" rIns="72000" bIns="36000" rtlCol="0" anchor="ctr">
              <a:spAutoFit/>
            </a:bodyPr>
            <a:lstStyle/>
            <a:p>
              <a:pPr algn="ctr"/>
              <a:r>
                <a:rPr lang="ru-RU" sz="4800" dirty="0" smtClean="0">
                  <a:solidFill>
                    <a:schemeClr val="bg1"/>
                  </a:solidFill>
                  <a:latin typeface="+mj-lt"/>
                </a:rPr>
                <a:t>РФП</a:t>
              </a:r>
              <a:endParaRPr lang="en-US" sz="4800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A72996C3-3FB6-4082-9962-C43014ACD9CA}"/>
              </a:ext>
            </a:extLst>
          </p:cNvPr>
          <p:cNvGrpSpPr/>
          <p:nvPr/>
        </p:nvGrpSpPr>
        <p:grpSpPr>
          <a:xfrm>
            <a:off x="6391681" y="1553194"/>
            <a:ext cx="1325651" cy="1479340"/>
            <a:chOff x="6391681" y="1989138"/>
            <a:chExt cx="1325651" cy="1479340"/>
          </a:xfrm>
        </p:grpSpPr>
        <p:sp>
          <p:nvSpPr>
            <p:cNvPr id="24" name="Freeform 23"/>
            <p:cNvSpPr/>
            <p:nvPr/>
          </p:nvSpPr>
          <p:spPr>
            <a:xfrm>
              <a:off x="6391681" y="1989138"/>
              <a:ext cx="1325651" cy="1479340"/>
            </a:xfrm>
            <a:custGeom>
              <a:avLst/>
              <a:gdLst>
                <a:gd name="connsiteX0" fmla="*/ 665158 w 1325651"/>
                <a:gd name="connsiteY0" fmla="*/ 0 h 1479340"/>
                <a:gd name="connsiteX1" fmla="*/ 1325651 w 1325651"/>
                <a:gd name="connsiteY1" fmla="*/ 324075 h 1479340"/>
                <a:gd name="connsiteX2" fmla="*/ 1325651 w 1325651"/>
                <a:gd name="connsiteY2" fmla="*/ 1155265 h 1479340"/>
                <a:gd name="connsiteX3" fmla="*/ 665158 w 1325651"/>
                <a:gd name="connsiteY3" fmla="*/ 1479340 h 1479340"/>
                <a:gd name="connsiteX4" fmla="*/ 665154 w 1325651"/>
                <a:gd name="connsiteY4" fmla="*/ 0 h 1479340"/>
                <a:gd name="connsiteX5" fmla="*/ 665154 w 1325651"/>
                <a:gd name="connsiteY5" fmla="*/ 1479340 h 1479340"/>
                <a:gd name="connsiteX6" fmla="*/ 0 w 1325651"/>
                <a:gd name="connsiteY6" fmla="*/ 1155265 h 1479340"/>
                <a:gd name="connsiteX7" fmla="*/ 0 w 1325651"/>
                <a:gd name="connsiteY7" fmla="*/ 324075 h 147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5651" h="1479340">
                  <a:moveTo>
                    <a:pt x="665158" y="0"/>
                  </a:moveTo>
                  <a:lnTo>
                    <a:pt x="1325651" y="324075"/>
                  </a:lnTo>
                  <a:lnTo>
                    <a:pt x="1325651" y="1155265"/>
                  </a:lnTo>
                  <a:lnTo>
                    <a:pt x="665158" y="1479340"/>
                  </a:lnTo>
                  <a:close/>
                  <a:moveTo>
                    <a:pt x="665154" y="0"/>
                  </a:moveTo>
                  <a:lnTo>
                    <a:pt x="665154" y="1479340"/>
                  </a:lnTo>
                  <a:lnTo>
                    <a:pt x="0" y="1155265"/>
                  </a:lnTo>
                  <a:lnTo>
                    <a:pt x="0" y="324075"/>
                  </a:lnTo>
                  <a:close/>
                </a:path>
              </a:pathLst>
            </a:custGeom>
            <a:gradFill>
              <a:gsLst>
                <a:gs pos="50000">
                  <a:schemeClr val="accent3"/>
                </a:gs>
                <a:gs pos="51000">
                  <a:schemeClr val="accent3">
                    <a:lumMod val="75000"/>
                  </a:schemeClr>
                </a:gs>
              </a:gsLst>
              <a:lin ang="27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6433576" y="2323124"/>
              <a:ext cx="1241860" cy="811367"/>
            </a:xfrm>
            <a:prstGeom prst="rect">
              <a:avLst/>
            </a:prstGeom>
            <a:noFill/>
          </p:spPr>
          <p:txBody>
            <a:bodyPr wrap="none" lIns="72000" tIns="36000" rIns="72000" bIns="36000" rtlCol="0" anchor="ctr">
              <a:spAutoFit/>
            </a:bodyPr>
            <a:lstStyle/>
            <a:p>
              <a:pPr algn="ctr"/>
              <a:r>
                <a:rPr lang="ru-RU" sz="4800" dirty="0" smtClean="0">
                  <a:solidFill>
                    <a:schemeClr val="bg1"/>
                  </a:solidFill>
                  <a:latin typeface="+mj-lt"/>
                </a:rPr>
                <a:t>РОН</a:t>
              </a:r>
              <a:endParaRPr lang="en-US" sz="4800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2D70EE8E-693C-40EA-AC2F-2306D603AB1B}"/>
              </a:ext>
            </a:extLst>
          </p:cNvPr>
          <p:cNvGrpSpPr/>
          <p:nvPr/>
        </p:nvGrpSpPr>
        <p:grpSpPr>
          <a:xfrm>
            <a:off x="4434009" y="3962572"/>
            <a:ext cx="1406970" cy="1479340"/>
            <a:chOff x="4434009" y="4249651"/>
            <a:chExt cx="1406970" cy="1479340"/>
          </a:xfrm>
        </p:grpSpPr>
        <p:sp>
          <p:nvSpPr>
            <p:cNvPr id="25" name="Freeform 24"/>
            <p:cNvSpPr/>
            <p:nvPr/>
          </p:nvSpPr>
          <p:spPr>
            <a:xfrm>
              <a:off x="4474667" y="4249651"/>
              <a:ext cx="1325651" cy="1479340"/>
            </a:xfrm>
            <a:custGeom>
              <a:avLst/>
              <a:gdLst>
                <a:gd name="connsiteX0" fmla="*/ 665158 w 1325651"/>
                <a:gd name="connsiteY0" fmla="*/ 0 h 1479340"/>
                <a:gd name="connsiteX1" fmla="*/ 1325651 w 1325651"/>
                <a:gd name="connsiteY1" fmla="*/ 324075 h 1479340"/>
                <a:gd name="connsiteX2" fmla="*/ 1325651 w 1325651"/>
                <a:gd name="connsiteY2" fmla="*/ 1155265 h 1479340"/>
                <a:gd name="connsiteX3" fmla="*/ 665158 w 1325651"/>
                <a:gd name="connsiteY3" fmla="*/ 1479340 h 1479340"/>
                <a:gd name="connsiteX4" fmla="*/ 665154 w 1325651"/>
                <a:gd name="connsiteY4" fmla="*/ 0 h 1479340"/>
                <a:gd name="connsiteX5" fmla="*/ 665154 w 1325651"/>
                <a:gd name="connsiteY5" fmla="*/ 1479340 h 1479340"/>
                <a:gd name="connsiteX6" fmla="*/ 0 w 1325651"/>
                <a:gd name="connsiteY6" fmla="*/ 1155265 h 1479340"/>
                <a:gd name="connsiteX7" fmla="*/ 0 w 1325651"/>
                <a:gd name="connsiteY7" fmla="*/ 324075 h 147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5651" h="1479340">
                  <a:moveTo>
                    <a:pt x="665158" y="0"/>
                  </a:moveTo>
                  <a:lnTo>
                    <a:pt x="1325651" y="324075"/>
                  </a:lnTo>
                  <a:lnTo>
                    <a:pt x="1325651" y="1155265"/>
                  </a:lnTo>
                  <a:lnTo>
                    <a:pt x="665158" y="1479340"/>
                  </a:lnTo>
                  <a:close/>
                  <a:moveTo>
                    <a:pt x="665154" y="0"/>
                  </a:moveTo>
                  <a:lnTo>
                    <a:pt x="665154" y="1479340"/>
                  </a:lnTo>
                  <a:lnTo>
                    <a:pt x="0" y="1155265"/>
                  </a:lnTo>
                  <a:lnTo>
                    <a:pt x="0" y="324075"/>
                  </a:lnTo>
                  <a:close/>
                </a:path>
              </a:pathLst>
            </a:custGeom>
            <a:gradFill>
              <a:gsLst>
                <a:gs pos="50000">
                  <a:schemeClr val="accent4"/>
                </a:gs>
                <a:gs pos="51000">
                  <a:schemeClr val="accent4">
                    <a:lumMod val="75000"/>
                  </a:schemeClr>
                </a:gs>
              </a:gsLst>
              <a:lin ang="27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4434009" y="4614415"/>
              <a:ext cx="1406970" cy="749812"/>
            </a:xfrm>
            <a:prstGeom prst="rect">
              <a:avLst/>
            </a:prstGeom>
            <a:noFill/>
          </p:spPr>
          <p:txBody>
            <a:bodyPr wrap="none" lIns="72000" tIns="36000" rIns="72000" bIns="36000" rtlCol="0" anchor="ctr">
              <a:spAutoFit/>
            </a:bodyPr>
            <a:lstStyle/>
            <a:p>
              <a:pPr algn="ctr"/>
              <a:r>
                <a:rPr lang="ru-RU" sz="4400" dirty="0" smtClean="0">
                  <a:solidFill>
                    <a:schemeClr val="bg1"/>
                  </a:solidFill>
                  <a:latin typeface="+mj-lt"/>
                </a:rPr>
                <a:t>ЕХПД</a:t>
              </a:r>
              <a:endParaRPr lang="en-US" sz="4400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xmlns="" id="{83891A93-BDE0-45D2-B807-FAFE44A4FB98}"/>
              </a:ext>
            </a:extLst>
          </p:cNvPr>
          <p:cNvGrpSpPr/>
          <p:nvPr/>
        </p:nvGrpSpPr>
        <p:grpSpPr>
          <a:xfrm>
            <a:off x="6321368" y="3962572"/>
            <a:ext cx="1466281" cy="1479340"/>
            <a:chOff x="6321368" y="4249651"/>
            <a:chExt cx="1466281" cy="1479340"/>
          </a:xfrm>
        </p:grpSpPr>
        <p:sp>
          <p:nvSpPr>
            <p:cNvPr id="26" name="Freeform 25"/>
            <p:cNvSpPr/>
            <p:nvPr/>
          </p:nvSpPr>
          <p:spPr>
            <a:xfrm>
              <a:off x="6391681" y="4249651"/>
              <a:ext cx="1325651" cy="1479340"/>
            </a:xfrm>
            <a:custGeom>
              <a:avLst/>
              <a:gdLst>
                <a:gd name="connsiteX0" fmla="*/ 665158 w 1325651"/>
                <a:gd name="connsiteY0" fmla="*/ 0 h 1479340"/>
                <a:gd name="connsiteX1" fmla="*/ 1325651 w 1325651"/>
                <a:gd name="connsiteY1" fmla="*/ 324075 h 1479340"/>
                <a:gd name="connsiteX2" fmla="*/ 1325651 w 1325651"/>
                <a:gd name="connsiteY2" fmla="*/ 1155265 h 1479340"/>
                <a:gd name="connsiteX3" fmla="*/ 665158 w 1325651"/>
                <a:gd name="connsiteY3" fmla="*/ 1479340 h 1479340"/>
                <a:gd name="connsiteX4" fmla="*/ 665154 w 1325651"/>
                <a:gd name="connsiteY4" fmla="*/ 0 h 1479340"/>
                <a:gd name="connsiteX5" fmla="*/ 665154 w 1325651"/>
                <a:gd name="connsiteY5" fmla="*/ 1479340 h 1479340"/>
                <a:gd name="connsiteX6" fmla="*/ 0 w 1325651"/>
                <a:gd name="connsiteY6" fmla="*/ 1155265 h 1479340"/>
                <a:gd name="connsiteX7" fmla="*/ 0 w 1325651"/>
                <a:gd name="connsiteY7" fmla="*/ 324075 h 147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5651" h="1479340">
                  <a:moveTo>
                    <a:pt x="665158" y="0"/>
                  </a:moveTo>
                  <a:lnTo>
                    <a:pt x="1325651" y="324075"/>
                  </a:lnTo>
                  <a:lnTo>
                    <a:pt x="1325651" y="1155265"/>
                  </a:lnTo>
                  <a:lnTo>
                    <a:pt x="665158" y="1479340"/>
                  </a:lnTo>
                  <a:close/>
                  <a:moveTo>
                    <a:pt x="665154" y="0"/>
                  </a:moveTo>
                  <a:lnTo>
                    <a:pt x="665154" y="1479340"/>
                  </a:lnTo>
                  <a:lnTo>
                    <a:pt x="0" y="1155265"/>
                  </a:lnTo>
                  <a:lnTo>
                    <a:pt x="0" y="324075"/>
                  </a:lnTo>
                  <a:close/>
                </a:path>
              </a:pathLst>
            </a:custGeom>
            <a:gradFill>
              <a:gsLst>
                <a:gs pos="50000">
                  <a:schemeClr val="accent5"/>
                </a:gs>
                <a:gs pos="51000">
                  <a:schemeClr val="accent5">
                    <a:lumMod val="75000"/>
                  </a:schemeClr>
                </a:gs>
              </a:gsLst>
              <a:lin ang="27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6321368" y="4614414"/>
              <a:ext cx="1466281" cy="749812"/>
            </a:xfrm>
            <a:prstGeom prst="rect">
              <a:avLst/>
            </a:prstGeom>
            <a:noFill/>
          </p:spPr>
          <p:txBody>
            <a:bodyPr wrap="none" lIns="72000" tIns="36000" rIns="72000" bIns="36000" rtlCol="0" anchor="ctr">
              <a:spAutoFit/>
            </a:bodyPr>
            <a:lstStyle/>
            <a:p>
              <a:pPr algn="ctr"/>
              <a:r>
                <a:rPr lang="ru-RU" sz="4400" dirty="0" smtClean="0">
                  <a:solidFill>
                    <a:schemeClr val="bg1"/>
                  </a:solidFill>
                  <a:latin typeface="+mj-lt"/>
                </a:rPr>
                <a:t>ФПСР</a:t>
              </a:r>
              <a:endParaRPr lang="en-US" sz="4400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8" name="Freeform 5"/>
          <p:cNvSpPr>
            <a:spLocks noEditPoints="1"/>
          </p:cNvSpPr>
          <p:nvPr/>
        </p:nvSpPr>
        <p:spPr bwMode="auto">
          <a:xfrm>
            <a:off x="1040609" y="1414800"/>
            <a:ext cx="491948" cy="496482"/>
          </a:xfrm>
          <a:custGeom>
            <a:avLst/>
            <a:gdLst>
              <a:gd name="T0" fmla="*/ 183 w 183"/>
              <a:gd name="T1" fmla="*/ 79 h 183"/>
              <a:gd name="T2" fmla="*/ 168 w 183"/>
              <a:gd name="T3" fmla="*/ 81 h 183"/>
              <a:gd name="T4" fmla="*/ 166 w 183"/>
              <a:gd name="T5" fmla="*/ 78 h 183"/>
              <a:gd name="T6" fmla="*/ 149 w 183"/>
              <a:gd name="T7" fmla="*/ 17 h 183"/>
              <a:gd name="T8" fmla="*/ 130 w 183"/>
              <a:gd name="T9" fmla="*/ 34 h 183"/>
              <a:gd name="T10" fmla="*/ 142 w 183"/>
              <a:gd name="T11" fmla="*/ 95 h 183"/>
              <a:gd name="T12" fmla="*/ 144 w 183"/>
              <a:gd name="T13" fmla="*/ 98 h 183"/>
              <a:gd name="T14" fmla="*/ 113 w 183"/>
              <a:gd name="T15" fmla="*/ 79 h 183"/>
              <a:gd name="T16" fmla="*/ 147 w 183"/>
              <a:gd name="T17" fmla="*/ 0 h 183"/>
              <a:gd name="T18" fmla="*/ 183 w 183"/>
              <a:gd name="T19" fmla="*/ 34 h 183"/>
              <a:gd name="T20" fmla="*/ 136 w 183"/>
              <a:gd name="T21" fmla="*/ 68 h 183"/>
              <a:gd name="T22" fmla="*/ 139 w 183"/>
              <a:gd name="T23" fmla="*/ 86 h 183"/>
              <a:gd name="T24" fmla="*/ 149 w 183"/>
              <a:gd name="T25" fmla="*/ 94 h 183"/>
              <a:gd name="T26" fmla="*/ 117 w 183"/>
              <a:gd name="T27" fmla="*/ 137 h 183"/>
              <a:gd name="T28" fmla="*/ 118 w 183"/>
              <a:gd name="T29" fmla="*/ 149 h 183"/>
              <a:gd name="T30" fmla="*/ 154 w 183"/>
              <a:gd name="T31" fmla="*/ 131 h 183"/>
              <a:gd name="T32" fmla="*/ 162 w 183"/>
              <a:gd name="T33" fmla="*/ 83 h 183"/>
              <a:gd name="T34" fmla="*/ 82 w 183"/>
              <a:gd name="T35" fmla="*/ 159 h 183"/>
              <a:gd name="T36" fmla="*/ 89 w 183"/>
              <a:gd name="T37" fmla="*/ 147 h 183"/>
              <a:gd name="T38" fmla="*/ 84 w 183"/>
              <a:gd name="T39" fmla="*/ 139 h 183"/>
              <a:gd name="T40" fmla="*/ 87 w 183"/>
              <a:gd name="T41" fmla="*/ 113 h 183"/>
              <a:gd name="T42" fmla="*/ 107 w 183"/>
              <a:gd name="T43" fmla="*/ 80 h 183"/>
              <a:gd name="T44" fmla="*/ 69 w 183"/>
              <a:gd name="T45" fmla="*/ 146 h 183"/>
              <a:gd name="T46" fmla="*/ 94 w 183"/>
              <a:gd name="T47" fmla="*/ 117 h 183"/>
              <a:gd name="T48" fmla="*/ 88 w 183"/>
              <a:gd name="T49" fmla="*/ 133 h 183"/>
              <a:gd name="T50" fmla="*/ 95 w 183"/>
              <a:gd name="T51" fmla="*/ 149 h 183"/>
              <a:gd name="T52" fmla="*/ 33 w 183"/>
              <a:gd name="T53" fmla="*/ 166 h 183"/>
              <a:gd name="T54" fmla="*/ 16 w 183"/>
              <a:gd name="T55" fmla="*/ 147 h 183"/>
              <a:gd name="T56" fmla="*/ 57 w 183"/>
              <a:gd name="T57" fmla="*/ 130 h 183"/>
              <a:gd name="T58" fmla="*/ 33 w 183"/>
              <a:gd name="T59" fmla="*/ 113 h 183"/>
              <a:gd name="T60" fmla="*/ 0 w 183"/>
              <a:gd name="T61" fmla="*/ 149 h 183"/>
              <a:gd name="T62" fmla="*/ 78 w 183"/>
              <a:gd name="T63" fmla="*/ 183 h 183"/>
              <a:gd name="T64" fmla="*/ 112 w 183"/>
              <a:gd name="T65" fmla="*/ 147 h 1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83" h="183">
                <a:moveTo>
                  <a:pt x="183" y="34"/>
                </a:moveTo>
                <a:cubicBezTo>
                  <a:pt x="183" y="79"/>
                  <a:pt x="183" y="79"/>
                  <a:pt x="183" y="79"/>
                </a:cubicBezTo>
                <a:cubicBezTo>
                  <a:pt x="183" y="87"/>
                  <a:pt x="180" y="94"/>
                  <a:pt x="175" y="100"/>
                </a:cubicBezTo>
                <a:cubicBezTo>
                  <a:pt x="174" y="93"/>
                  <a:pt x="172" y="87"/>
                  <a:pt x="168" y="81"/>
                </a:cubicBezTo>
                <a:cubicBezTo>
                  <a:pt x="167" y="79"/>
                  <a:pt x="167" y="79"/>
                  <a:pt x="167" y="79"/>
                </a:cubicBezTo>
                <a:cubicBezTo>
                  <a:pt x="167" y="79"/>
                  <a:pt x="166" y="78"/>
                  <a:pt x="166" y="78"/>
                </a:cubicBezTo>
                <a:cubicBezTo>
                  <a:pt x="166" y="34"/>
                  <a:pt x="166" y="34"/>
                  <a:pt x="166" y="34"/>
                </a:cubicBezTo>
                <a:cubicBezTo>
                  <a:pt x="166" y="24"/>
                  <a:pt x="158" y="17"/>
                  <a:pt x="149" y="17"/>
                </a:cubicBezTo>
                <a:cubicBezTo>
                  <a:pt x="147" y="17"/>
                  <a:pt x="147" y="17"/>
                  <a:pt x="147" y="17"/>
                </a:cubicBezTo>
                <a:cubicBezTo>
                  <a:pt x="137" y="17"/>
                  <a:pt x="130" y="24"/>
                  <a:pt x="130" y="34"/>
                </a:cubicBezTo>
                <a:cubicBezTo>
                  <a:pt x="130" y="79"/>
                  <a:pt x="130" y="79"/>
                  <a:pt x="130" y="79"/>
                </a:cubicBezTo>
                <a:cubicBezTo>
                  <a:pt x="130" y="86"/>
                  <a:pt x="135" y="93"/>
                  <a:pt x="142" y="95"/>
                </a:cubicBezTo>
                <a:cubicBezTo>
                  <a:pt x="142" y="95"/>
                  <a:pt x="142" y="95"/>
                  <a:pt x="143" y="96"/>
                </a:cubicBezTo>
                <a:cubicBezTo>
                  <a:pt x="144" y="98"/>
                  <a:pt x="144" y="98"/>
                  <a:pt x="144" y="98"/>
                </a:cubicBezTo>
                <a:cubicBezTo>
                  <a:pt x="147" y="102"/>
                  <a:pt x="146" y="109"/>
                  <a:pt x="142" y="112"/>
                </a:cubicBezTo>
                <a:cubicBezTo>
                  <a:pt x="125" y="110"/>
                  <a:pt x="113" y="96"/>
                  <a:pt x="113" y="79"/>
                </a:cubicBezTo>
                <a:cubicBezTo>
                  <a:pt x="113" y="34"/>
                  <a:pt x="113" y="34"/>
                  <a:pt x="113" y="34"/>
                </a:cubicBezTo>
                <a:cubicBezTo>
                  <a:pt x="113" y="15"/>
                  <a:pt x="128" y="0"/>
                  <a:pt x="147" y="0"/>
                </a:cubicBezTo>
                <a:cubicBezTo>
                  <a:pt x="149" y="0"/>
                  <a:pt x="149" y="0"/>
                  <a:pt x="149" y="0"/>
                </a:cubicBezTo>
                <a:cubicBezTo>
                  <a:pt x="167" y="0"/>
                  <a:pt x="183" y="15"/>
                  <a:pt x="183" y="34"/>
                </a:cubicBezTo>
                <a:close/>
                <a:moveTo>
                  <a:pt x="162" y="83"/>
                </a:moveTo>
                <a:cubicBezTo>
                  <a:pt x="156" y="74"/>
                  <a:pt x="146" y="69"/>
                  <a:pt x="136" y="68"/>
                </a:cubicBezTo>
                <a:cubicBezTo>
                  <a:pt x="136" y="79"/>
                  <a:pt x="136" y="79"/>
                  <a:pt x="136" y="79"/>
                </a:cubicBezTo>
                <a:cubicBezTo>
                  <a:pt x="136" y="81"/>
                  <a:pt x="137" y="84"/>
                  <a:pt x="139" y="86"/>
                </a:cubicBezTo>
                <a:cubicBezTo>
                  <a:pt x="142" y="87"/>
                  <a:pt x="146" y="89"/>
                  <a:pt x="148" y="92"/>
                </a:cubicBezTo>
                <a:cubicBezTo>
                  <a:pt x="149" y="94"/>
                  <a:pt x="149" y="94"/>
                  <a:pt x="149" y="94"/>
                </a:cubicBezTo>
                <a:cubicBezTo>
                  <a:pt x="154" y="102"/>
                  <a:pt x="152" y="112"/>
                  <a:pt x="145" y="118"/>
                </a:cubicBezTo>
                <a:cubicBezTo>
                  <a:pt x="117" y="137"/>
                  <a:pt x="117" y="137"/>
                  <a:pt x="117" y="137"/>
                </a:cubicBezTo>
                <a:cubicBezTo>
                  <a:pt x="118" y="140"/>
                  <a:pt x="118" y="143"/>
                  <a:pt x="118" y="147"/>
                </a:cubicBezTo>
                <a:cubicBezTo>
                  <a:pt x="118" y="149"/>
                  <a:pt x="118" y="149"/>
                  <a:pt x="118" y="149"/>
                </a:cubicBezTo>
                <a:cubicBezTo>
                  <a:pt x="118" y="152"/>
                  <a:pt x="118" y="154"/>
                  <a:pt x="118" y="157"/>
                </a:cubicBezTo>
                <a:cubicBezTo>
                  <a:pt x="154" y="131"/>
                  <a:pt x="154" y="131"/>
                  <a:pt x="154" y="131"/>
                </a:cubicBezTo>
                <a:cubicBezTo>
                  <a:pt x="170" y="121"/>
                  <a:pt x="174" y="100"/>
                  <a:pt x="163" y="85"/>
                </a:cubicBezTo>
                <a:lnTo>
                  <a:pt x="162" y="83"/>
                </a:lnTo>
                <a:close/>
                <a:moveTo>
                  <a:pt x="70" y="148"/>
                </a:moveTo>
                <a:cubicBezTo>
                  <a:pt x="73" y="153"/>
                  <a:pt x="77" y="156"/>
                  <a:pt x="82" y="159"/>
                </a:cubicBezTo>
                <a:cubicBezTo>
                  <a:pt x="86" y="157"/>
                  <a:pt x="89" y="153"/>
                  <a:pt x="89" y="149"/>
                </a:cubicBezTo>
                <a:cubicBezTo>
                  <a:pt x="89" y="147"/>
                  <a:pt x="89" y="147"/>
                  <a:pt x="89" y="147"/>
                </a:cubicBezTo>
                <a:cubicBezTo>
                  <a:pt x="89" y="145"/>
                  <a:pt x="89" y="144"/>
                  <a:pt x="88" y="143"/>
                </a:cubicBezTo>
                <a:cubicBezTo>
                  <a:pt x="87" y="142"/>
                  <a:pt x="85" y="140"/>
                  <a:pt x="84" y="139"/>
                </a:cubicBezTo>
                <a:cubicBezTo>
                  <a:pt x="83" y="137"/>
                  <a:pt x="83" y="137"/>
                  <a:pt x="83" y="137"/>
                </a:cubicBezTo>
                <a:cubicBezTo>
                  <a:pt x="78" y="129"/>
                  <a:pt x="80" y="119"/>
                  <a:pt x="87" y="113"/>
                </a:cubicBezTo>
                <a:cubicBezTo>
                  <a:pt x="111" y="97"/>
                  <a:pt x="111" y="97"/>
                  <a:pt x="111" y="97"/>
                </a:cubicBezTo>
                <a:cubicBezTo>
                  <a:pt x="108" y="92"/>
                  <a:pt x="107" y="86"/>
                  <a:pt x="107" y="80"/>
                </a:cubicBezTo>
                <a:cubicBezTo>
                  <a:pt x="78" y="99"/>
                  <a:pt x="78" y="99"/>
                  <a:pt x="78" y="99"/>
                </a:cubicBezTo>
                <a:cubicBezTo>
                  <a:pt x="62" y="110"/>
                  <a:pt x="59" y="131"/>
                  <a:pt x="69" y="146"/>
                </a:cubicBezTo>
                <a:lnTo>
                  <a:pt x="70" y="148"/>
                </a:lnTo>
                <a:close/>
                <a:moveTo>
                  <a:pt x="94" y="117"/>
                </a:moveTo>
                <a:cubicBezTo>
                  <a:pt x="91" y="119"/>
                  <a:pt x="91" y="119"/>
                  <a:pt x="91" y="119"/>
                </a:cubicBezTo>
                <a:cubicBezTo>
                  <a:pt x="86" y="122"/>
                  <a:pt x="85" y="128"/>
                  <a:pt x="88" y="133"/>
                </a:cubicBezTo>
                <a:cubicBezTo>
                  <a:pt x="92" y="136"/>
                  <a:pt x="95" y="141"/>
                  <a:pt x="95" y="147"/>
                </a:cubicBezTo>
                <a:cubicBezTo>
                  <a:pt x="95" y="149"/>
                  <a:pt x="95" y="149"/>
                  <a:pt x="95" y="149"/>
                </a:cubicBezTo>
                <a:cubicBezTo>
                  <a:pt x="95" y="158"/>
                  <a:pt x="88" y="166"/>
                  <a:pt x="78" y="166"/>
                </a:cubicBezTo>
                <a:cubicBezTo>
                  <a:pt x="33" y="166"/>
                  <a:pt x="33" y="166"/>
                  <a:pt x="33" y="166"/>
                </a:cubicBezTo>
                <a:cubicBezTo>
                  <a:pt x="24" y="166"/>
                  <a:pt x="16" y="158"/>
                  <a:pt x="16" y="149"/>
                </a:cubicBezTo>
                <a:cubicBezTo>
                  <a:pt x="16" y="147"/>
                  <a:pt x="16" y="147"/>
                  <a:pt x="16" y="147"/>
                </a:cubicBezTo>
                <a:cubicBezTo>
                  <a:pt x="16" y="137"/>
                  <a:pt x="24" y="130"/>
                  <a:pt x="33" y="130"/>
                </a:cubicBezTo>
                <a:cubicBezTo>
                  <a:pt x="57" y="130"/>
                  <a:pt x="57" y="130"/>
                  <a:pt x="57" y="130"/>
                </a:cubicBezTo>
                <a:cubicBezTo>
                  <a:pt x="57" y="124"/>
                  <a:pt x="57" y="118"/>
                  <a:pt x="60" y="113"/>
                </a:cubicBezTo>
                <a:cubicBezTo>
                  <a:pt x="33" y="113"/>
                  <a:pt x="33" y="113"/>
                  <a:pt x="33" y="113"/>
                </a:cubicBezTo>
                <a:cubicBezTo>
                  <a:pt x="15" y="113"/>
                  <a:pt x="0" y="128"/>
                  <a:pt x="0" y="147"/>
                </a:cubicBezTo>
                <a:cubicBezTo>
                  <a:pt x="0" y="149"/>
                  <a:pt x="0" y="149"/>
                  <a:pt x="0" y="149"/>
                </a:cubicBezTo>
                <a:cubicBezTo>
                  <a:pt x="0" y="167"/>
                  <a:pt x="15" y="183"/>
                  <a:pt x="33" y="183"/>
                </a:cubicBezTo>
                <a:cubicBezTo>
                  <a:pt x="78" y="183"/>
                  <a:pt x="78" y="183"/>
                  <a:pt x="78" y="183"/>
                </a:cubicBezTo>
                <a:cubicBezTo>
                  <a:pt x="97" y="183"/>
                  <a:pt x="112" y="167"/>
                  <a:pt x="112" y="149"/>
                </a:cubicBezTo>
                <a:cubicBezTo>
                  <a:pt x="112" y="147"/>
                  <a:pt x="112" y="147"/>
                  <a:pt x="112" y="147"/>
                </a:cubicBezTo>
                <a:cubicBezTo>
                  <a:pt x="112" y="134"/>
                  <a:pt x="105" y="122"/>
                  <a:pt x="94" y="11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563DBEB5-9BD8-4714-A394-1BE62BABE653}"/>
              </a:ext>
            </a:extLst>
          </p:cNvPr>
          <p:cNvGrpSpPr/>
          <p:nvPr/>
        </p:nvGrpSpPr>
        <p:grpSpPr>
          <a:xfrm>
            <a:off x="5608289" y="2886528"/>
            <a:ext cx="1048448" cy="1170000"/>
            <a:chOff x="5571450" y="3271751"/>
            <a:chExt cx="1048448" cy="1170000"/>
          </a:xfrm>
        </p:grpSpPr>
        <p:sp>
          <p:nvSpPr>
            <p:cNvPr id="27" name="Freeform 26"/>
            <p:cNvSpPr>
              <a:spLocks noChangeAspect="1"/>
            </p:cNvSpPr>
            <p:nvPr/>
          </p:nvSpPr>
          <p:spPr>
            <a:xfrm>
              <a:off x="5571450" y="3271751"/>
              <a:ext cx="1048448" cy="1170000"/>
            </a:xfrm>
            <a:custGeom>
              <a:avLst/>
              <a:gdLst>
                <a:gd name="connsiteX0" fmla="*/ 665158 w 1325651"/>
                <a:gd name="connsiteY0" fmla="*/ 0 h 1479340"/>
                <a:gd name="connsiteX1" fmla="*/ 1325651 w 1325651"/>
                <a:gd name="connsiteY1" fmla="*/ 324075 h 1479340"/>
                <a:gd name="connsiteX2" fmla="*/ 1325651 w 1325651"/>
                <a:gd name="connsiteY2" fmla="*/ 1155265 h 1479340"/>
                <a:gd name="connsiteX3" fmla="*/ 665158 w 1325651"/>
                <a:gd name="connsiteY3" fmla="*/ 1479340 h 1479340"/>
                <a:gd name="connsiteX4" fmla="*/ 665154 w 1325651"/>
                <a:gd name="connsiteY4" fmla="*/ 0 h 1479340"/>
                <a:gd name="connsiteX5" fmla="*/ 665154 w 1325651"/>
                <a:gd name="connsiteY5" fmla="*/ 1479340 h 1479340"/>
                <a:gd name="connsiteX6" fmla="*/ 0 w 1325651"/>
                <a:gd name="connsiteY6" fmla="*/ 1155265 h 1479340"/>
                <a:gd name="connsiteX7" fmla="*/ 0 w 1325651"/>
                <a:gd name="connsiteY7" fmla="*/ 324075 h 1479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5651" h="1479340">
                  <a:moveTo>
                    <a:pt x="665158" y="0"/>
                  </a:moveTo>
                  <a:lnTo>
                    <a:pt x="1325651" y="324075"/>
                  </a:lnTo>
                  <a:lnTo>
                    <a:pt x="1325651" y="1155265"/>
                  </a:lnTo>
                  <a:lnTo>
                    <a:pt x="665158" y="1479340"/>
                  </a:lnTo>
                  <a:close/>
                  <a:moveTo>
                    <a:pt x="665154" y="0"/>
                  </a:moveTo>
                  <a:lnTo>
                    <a:pt x="665154" y="1479340"/>
                  </a:lnTo>
                  <a:lnTo>
                    <a:pt x="0" y="1155265"/>
                  </a:lnTo>
                  <a:lnTo>
                    <a:pt x="0" y="324075"/>
                  </a:lnTo>
                  <a:close/>
                </a:path>
              </a:pathLst>
            </a:custGeom>
            <a:gradFill>
              <a:gsLst>
                <a:gs pos="50000">
                  <a:schemeClr val="accent1"/>
                </a:gs>
                <a:gs pos="51000">
                  <a:schemeClr val="accent1">
                    <a:lumMod val="75000"/>
                  </a:schemeClr>
                </a:gs>
              </a:gsLst>
              <a:lin ang="27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4" name="Freeform 5"/>
            <p:cNvSpPr>
              <a:spLocks noEditPoints="1"/>
            </p:cNvSpPr>
            <p:nvPr/>
          </p:nvSpPr>
          <p:spPr bwMode="auto">
            <a:xfrm>
              <a:off x="5835917" y="3590487"/>
              <a:ext cx="519515" cy="532529"/>
            </a:xfrm>
            <a:custGeom>
              <a:avLst/>
              <a:gdLst>
                <a:gd name="T0" fmla="*/ 153 w 200"/>
                <a:gd name="T1" fmla="*/ 18 h 205"/>
                <a:gd name="T2" fmla="*/ 145 w 200"/>
                <a:gd name="T3" fmla="*/ 9 h 205"/>
                <a:gd name="T4" fmla="*/ 179 w 200"/>
                <a:gd name="T5" fmla="*/ 0 h 205"/>
                <a:gd name="T6" fmla="*/ 170 w 200"/>
                <a:gd name="T7" fmla="*/ 35 h 205"/>
                <a:gd name="T8" fmla="*/ 162 w 200"/>
                <a:gd name="T9" fmla="*/ 26 h 205"/>
                <a:gd name="T10" fmla="*/ 111 w 200"/>
                <a:gd name="T11" fmla="*/ 77 h 205"/>
                <a:gd name="T12" fmla="*/ 90 w 200"/>
                <a:gd name="T13" fmla="*/ 56 h 205"/>
                <a:gd name="T14" fmla="*/ 57 w 200"/>
                <a:gd name="T15" fmla="*/ 90 h 205"/>
                <a:gd name="T16" fmla="*/ 48 w 200"/>
                <a:gd name="T17" fmla="*/ 81 h 205"/>
                <a:gd name="T18" fmla="*/ 90 w 200"/>
                <a:gd name="T19" fmla="*/ 39 h 205"/>
                <a:gd name="T20" fmla="*/ 111 w 200"/>
                <a:gd name="T21" fmla="*/ 60 h 205"/>
                <a:gd name="T22" fmla="*/ 153 w 200"/>
                <a:gd name="T23" fmla="*/ 18 h 205"/>
                <a:gd name="T24" fmla="*/ 197 w 200"/>
                <a:gd name="T25" fmla="*/ 184 h 205"/>
                <a:gd name="T26" fmla="*/ 198 w 200"/>
                <a:gd name="T27" fmla="*/ 183 h 205"/>
                <a:gd name="T28" fmla="*/ 198 w 200"/>
                <a:gd name="T29" fmla="*/ 174 h 205"/>
                <a:gd name="T30" fmla="*/ 135 w 200"/>
                <a:gd name="T31" fmla="*/ 111 h 205"/>
                <a:gd name="T32" fmla="*/ 126 w 200"/>
                <a:gd name="T33" fmla="*/ 111 h 205"/>
                <a:gd name="T34" fmla="*/ 125 w 200"/>
                <a:gd name="T35" fmla="*/ 112 h 205"/>
                <a:gd name="T36" fmla="*/ 123 w 200"/>
                <a:gd name="T37" fmla="*/ 109 h 205"/>
                <a:gd name="T38" fmla="*/ 133 w 200"/>
                <a:gd name="T39" fmla="*/ 66 h 205"/>
                <a:gd name="T40" fmla="*/ 120 w 200"/>
                <a:gd name="T41" fmla="*/ 80 h 205"/>
                <a:gd name="T42" fmla="*/ 105 w 200"/>
                <a:gd name="T43" fmla="*/ 109 h 205"/>
                <a:gd name="T44" fmla="*/ 35 w 200"/>
                <a:gd name="T45" fmla="*/ 110 h 205"/>
                <a:gd name="T46" fmla="*/ 35 w 200"/>
                <a:gd name="T47" fmla="*/ 39 h 205"/>
                <a:gd name="T48" fmla="*/ 105 w 200"/>
                <a:gd name="T49" fmla="*/ 39 h 205"/>
                <a:gd name="T50" fmla="*/ 112 w 200"/>
                <a:gd name="T51" fmla="*/ 47 h 205"/>
                <a:gd name="T52" fmla="*/ 122 w 200"/>
                <a:gd name="T53" fmla="*/ 38 h 205"/>
                <a:gd name="T54" fmla="*/ 115 w 200"/>
                <a:gd name="T55" fmla="*/ 29 h 205"/>
                <a:gd name="T56" fmla="*/ 25 w 200"/>
                <a:gd name="T57" fmla="*/ 29 h 205"/>
                <a:gd name="T58" fmla="*/ 25 w 200"/>
                <a:gd name="T59" fmla="*/ 119 h 205"/>
                <a:gd name="T60" fmla="*/ 105 w 200"/>
                <a:gd name="T61" fmla="*/ 127 h 205"/>
                <a:gd name="T62" fmla="*/ 108 w 200"/>
                <a:gd name="T63" fmla="*/ 129 h 205"/>
                <a:gd name="T64" fmla="*/ 107 w 200"/>
                <a:gd name="T65" fmla="*/ 130 h 205"/>
                <a:gd name="T66" fmla="*/ 107 w 200"/>
                <a:gd name="T67" fmla="*/ 139 h 205"/>
                <a:gd name="T68" fmla="*/ 170 w 200"/>
                <a:gd name="T69" fmla="*/ 202 h 205"/>
                <a:gd name="T70" fmla="*/ 179 w 200"/>
                <a:gd name="T71" fmla="*/ 202 h 205"/>
                <a:gd name="T72" fmla="*/ 180 w 200"/>
                <a:gd name="T73" fmla="*/ 201 h 205"/>
                <a:gd name="T74" fmla="*/ 180 w 200"/>
                <a:gd name="T75" fmla="*/ 202 h 205"/>
                <a:gd name="T76" fmla="*/ 186 w 200"/>
                <a:gd name="T77" fmla="*/ 202 h 205"/>
                <a:gd name="T78" fmla="*/ 198 w 200"/>
                <a:gd name="T79" fmla="*/ 190 h 205"/>
                <a:gd name="T80" fmla="*/ 198 w 200"/>
                <a:gd name="T81" fmla="*/ 184 h 205"/>
                <a:gd name="T82" fmla="*/ 197 w 200"/>
                <a:gd name="T83" fmla="*/ 184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0" h="205">
                  <a:moveTo>
                    <a:pt x="153" y="18"/>
                  </a:moveTo>
                  <a:cubicBezTo>
                    <a:pt x="145" y="9"/>
                    <a:pt x="145" y="9"/>
                    <a:pt x="145" y="9"/>
                  </a:cubicBezTo>
                  <a:cubicBezTo>
                    <a:pt x="179" y="0"/>
                    <a:pt x="179" y="0"/>
                    <a:pt x="179" y="0"/>
                  </a:cubicBezTo>
                  <a:cubicBezTo>
                    <a:pt x="170" y="35"/>
                    <a:pt x="170" y="35"/>
                    <a:pt x="170" y="35"/>
                  </a:cubicBezTo>
                  <a:cubicBezTo>
                    <a:pt x="162" y="26"/>
                    <a:pt x="162" y="26"/>
                    <a:pt x="162" y="26"/>
                  </a:cubicBezTo>
                  <a:cubicBezTo>
                    <a:pt x="111" y="77"/>
                    <a:pt x="111" y="77"/>
                    <a:pt x="111" y="77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90" y="39"/>
                    <a:pt x="90" y="39"/>
                    <a:pt x="90" y="39"/>
                  </a:cubicBezTo>
                  <a:cubicBezTo>
                    <a:pt x="111" y="60"/>
                    <a:pt x="111" y="60"/>
                    <a:pt x="111" y="60"/>
                  </a:cubicBezTo>
                  <a:lnTo>
                    <a:pt x="153" y="18"/>
                  </a:lnTo>
                  <a:close/>
                  <a:moveTo>
                    <a:pt x="197" y="184"/>
                  </a:moveTo>
                  <a:cubicBezTo>
                    <a:pt x="198" y="183"/>
                    <a:pt x="198" y="183"/>
                    <a:pt x="198" y="183"/>
                  </a:cubicBezTo>
                  <a:cubicBezTo>
                    <a:pt x="200" y="181"/>
                    <a:pt x="200" y="177"/>
                    <a:pt x="198" y="174"/>
                  </a:cubicBezTo>
                  <a:cubicBezTo>
                    <a:pt x="135" y="111"/>
                    <a:pt x="135" y="111"/>
                    <a:pt x="135" y="111"/>
                  </a:cubicBezTo>
                  <a:cubicBezTo>
                    <a:pt x="133" y="109"/>
                    <a:pt x="128" y="109"/>
                    <a:pt x="126" y="111"/>
                  </a:cubicBezTo>
                  <a:cubicBezTo>
                    <a:pt x="125" y="112"/>
                    <a:pt x="125" y="112"/>
                    <a:pt x="125" y="112"/>
                  </a:cubicBezTo>
                  <a:cubicBezTo>
                    <a:pt x="123" y="109"/>
                    <a:pt x="123" y="109"/>
                    <a:pt x="123" y="109"/>
                  </a:cubicBezTo>
                  <a:cubicBezTo>
                    <a:pt x="131" y="97"/>
                    <a:pt x="135" y="81"/>
                    <a:pt x="133" y="66"/>
                  </a:cubicBezTo>
                  <a:cubicBezTo>
                    <a:pt x="120" y="80"/>
                    <a:pt x="120" y="80"/>
                    <a:pt x="120" y="80"/>
                  </a:cubicBezTo>
                  <a:cubicBezTo>
                    <a:pt x="119" y="90"/>
                    <a:pt x="114" y="101"/>
                    <a:pt x="105" y="109"/>
                  </a:cubicBezTo>
                  <a:cubicBezTo>
                    <a:pt x="86" y="129"/>
                    <a:pt x="54" y="129"/>
                    <a:pt x="35" y="110"/>
                  </a:cubicBezTo>
                  <a:cubicBezTo>
                    <a:pt x="15" y="90"/>
                    <a:pt x="15" y="58"/>
                    <a:pt x="35" y="39"/>
                  </a:cubicBezTo>
                  <a:cubicBezTo>
                    <a:pt x="54" y="19"/>
                    <a:pt x="86" y="19"/>
                    <a:pt x="105" y="39"/>
                  </a:cubicBezTo>
                  <a:cubicBezTo>
                    <a:pt x="108" y="41"/>
                    <a:pt x="110" y="44"/>
                    <a:pt x="112" y="47"/>
                  </a:cubicBezTo>
                  <a:cubicBezTo>
                    <a:pt x="122" y="38"/>
                    <a:pt x="122" y="38"/>
                    <a:pt x="122" y="38"/>
                  </a:cubicBezTo>
                  <a:cubicBezTo>
                    <a:pt x="120" y="35"/>
                    <a:pt x="117" y="32"/>
                    <a:pt x="115" y="29"/>
                  </a:cubicBezTo>
                  <a:cubicBezTo>
                    <a:pt x="90" y="5"/>
                    <a:pt x="50" y="5"/>
                    <a:pt x="25" y="29"/>
                  </a:cubicBezTo>
                  <a:cubicBezTo>
                    <a:pt x="0" y="54"/>
                    <a:pt x="0" y="94"/>
                    <a:pt x="25" y="119"/>
                  </a:cubicBezTo>
                  <a:cubicBezTo>
                    <a:pt x="47" y="141"/>
                    <a:pt x="80" y="143"/>
                    <a:pt x="105" y="127"/>
                  </a:cubicBezTo>
                  <a:cubicBezTo>
                    <a:pt x="108" y="129"/>
                    <a:pt x="108" y="129"/>
                    <a:pt x="108" y="129"/>
                  </a:cubicBezTo>
                  <a:cubicBezTo>
                    <a:pt x="107" y="130"/>
                    <a:pt x="107" y="130"/>
                    <a:pt x="107" y="130"/>
                  </a:cubicBezTo>
                  <a:cubicBezTo>
                    <a:pt x="105" y="133"/>
                    <a:pt x="105" y="137"/>
                    <a:pt x="107" y="139"/>
                  </a:cubicBezTo>
                  <a:cubicBezTo>
                    <a:pt x="170" y="202"/>
                    <a:pt x="170" y="202"/>
                    <a:pt x="170" y="202"/>
                  </a:cubicBezTo>
                  <a:cubicBezTo>
                    <a:pt x="172" y="205"/>
                    <a:pt x="177" y="205"/>
                    <a:pt x="179" y="202"/>
                  </a:cubicBezTo>
                  <a:cubicBezTo>
                    <a:pt x="180" y="201"/>
                    <a:pt x="180" y="201"/>
                    <a:pt x="180" y="201"/>
                  </a:cubicBezTo>
                  <a:cubicBezTo>
                    <a:pt x="180" y="202"/>
                    <a:pt x="180" y="202"/>
                    <a:pt x="180" y="202"/>
                  </a:cubicBezTo>
                  <a:cubicBezTo>
                    <a:pt x="182" y="203"/>
                    <a:pt x="184" y="203"/>
                    <a:pt x="186" y="202"/>
                  </a:cubicBezTo>
                  <a:cubicBezTo>
                    <a:pt x="198" y="190"/>
                    <a:pt x="198" y="190"/>
                    <a:pt x="198" y="190"/>
                  </a:cubicBezTo>
                  <a:cubicBezTo>
                    <a:pt x="199" y="189"/>
                    <a:pt x="199" y="186"/>
                    <a:pt x="198" y="184"/>
                  </a:cubicBezTo>
                  <a:lnTo>
                    <a:pt x="197" y="18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7" name="Text Placeholder 49">
            <a:extLst>
              <a:ext uri="{FF2B5EF4-FFF2-40B4-BE49-F238E27FC236}">
                <a16:creationId xmlns:a16="http://schemas.microsoft.com/office/drawing/2014/main" xmlns="" id="{5784E20F-6FB6-4027-A487-CD94360C76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63470" y="149383"/>
            <a:ext cx="10541717" cy="571500"/>
          </a:xfrm>
        </p:spPr>
        <p:txBody>
          <a:bodyPr/>
          <a:lstStyle/>
          <a:p>
            <a:r>
              <a:rPr lang="ru-RU" sz="3200" dirty="0" smtClean="0"/>
              <a:t>Из каких элементов состоит цифровая аналитическая платформа (ЦАП)</a:t>
            </a:r>
            <a:endParaRPr lang="en-US" sz="3200" dirty="0"/>
          </a:p>
        </p:txBody>
      </p:sp>
      <p:grpSp>
        <p:nvGrpSpPr>
          <p:cNvPr id="39" name="Group 1">
            <a:extLst>
              <a:ext uri="{FF2B5EF4-FFF2-40B4-BE49-F238E27FC236}">
                <a16:creationId xmlns:a16="http://schemas.microsoft.com/office/drawing/2014/main" xmlns="" id="{865AC7E4-C1ED-454F-B2C2-F1FDC512BEF9}"/>
              </a:ext>
            </a:extLst>
          </p:cNvPr>
          <p:cNvGrpSpPr/>
          <p:nvPr/>
        </p:nvGrpSpPr>
        <p:grpSpPr>
          <a:xfrm>
            <a:off x="87702" y="50952"/>
            <a:ext cx="1198881" cy="1198881"/>
            <a:chOff x="5496559" y="1760636"/>
            <a:chExt cx="1198881" cy="1198881"/>
          </a:xfrm>
        </p:grpSpPr>
        <p:sp>
          <p:nvSpPr>
            <p:cNvPr id="40" name="Rectangle 61">
              <a:extLst>
                <a:ext uri="{FF2B5EF4-FFF2-40B4-BE49-F238E27FC236}">
                  <a16:creationId xmlns:a16="http://schemas.microsoft.com/office/drawing/2014/main" xmlns="" id="{A4408F6C-790D-45CC-93CF-9FF03A02C1C9}"/>
                </a:ext>
              </a:extLst>
            </p:cNvPr>
            <p:cNvSpPr/>
            <p:nvPr/>
          </p:nvSpPr>
          <p:spPr>
            <a:xfrm>
              <a:off x="5496559" y="1760636"/>
              <a:ext cx="1198881" cy="1198881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ectangle 62">
              <a:extLst>
                <a:ext uri="{FF2B5EF4-FFF2-40B4-BE49-F238E27FC236}">
                  <a16:creationId xmlns:a16="http://schemas.microsoft.com/office/drawing/2014/main" xmlns="" id="{75330248-DBA8-4ABE-BE89-AA069B533947}"/>
                </a:ext>
              </a:extLst>
            </p:cNvPr>
            <p:cNvSpPr/>
            <p:nvPr/>
          </p:nvSpPr>
          <p:spPr>
            <a:xfrm>
              <a:off x="5673447" y="1975355"/>
              <a:ext cx="845103" cy="76944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4400" b="1" dirty="0" smtClean="0">
                  <a:solidFill>
                    <a:schemeClr val="bg1"/>
                  </a:solidFill>
                  <a:latin typeface="Trebuchet MS" panose="020B0603020202020204" pitchFamily="34" charset="0"/>
                </a:rPr>
                <a:t>05</a:t>
              </a:r>
              <a:endParaRPr lang="en-US" sz="4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42" name="Прямоугольник 41"/>
          <p:cNvSpPr/>
          <p:nvPr/>
        </p:nvSpPr>
        <p:spPr>
          <a:xfrm>
            <a:off x="1715613" y="1319495"/>
            <a:ext cx="263492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РФП – полная база форм и </a:t>
            </a:r>
            <a:r>
              <a:rPr lang="ru-RU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показателей, </a:t>
            </a:r>
            <a:r>
              <a:rPr lang="ru-RU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по которым выполняется </a:t>
            </a:r>
            <a:r>
              <a:rPr lang="ru-RU" dirty="0" err="1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статнаблюдение</a:t>
            </a:r>
            <a:endParaRPr lang="ru-RU" dirty="0">
              <a:latin typeface="+mj-lt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8017436" y="1319495"/>
            <a:ext cx="2912257" cy="1047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spcAft>
                <a:spcPts val="1000"/>
              </a:spcAft>
              <a:tabLst>
                <a:tab pos="457200" algn="l"/>
              </a:tabLst>
            </a:pPr>
            <a:r>
              <a:rPr lang="ru-RU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РОН – единый реестр объектов статистических наблюдений (предприятий)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1749956" y="4048342"/>
            <a:ext cx="2458852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ЕХПД – единое хранилище </a:t>
            </a:r>
            <a:r>
              <a:rPr lang="ru-RU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первичных </a:t>
            </a:r>
            <a:r>
              <a:rPr lang="ru-RU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статистических </a:t>
            </a:r>
            <a:r>
              <a:rPr lang="ru-RU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данных: все статданные в одном защищенном ЦОД на базе ГЕОП</a:t>
            </a:r>
            <a:endParaRPr lang="ru-RU" dirty="0">
              <a:latin typeface="+mj-lt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8017436" y="2641571"/>
            <a:ext cx="323913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Аналитическая витрина – </a:t>
            </a:r>
            <a:r>
              <a:rPr lang="ru-RU" dirty="0" smtClean="0">
                <a:solidFill>
                  <a:schemeClr val="bg2">
                    <a:lumMod val="2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современный </a:t>
            </a:r>
            <a:r>
              <a:rPr lang="en-US" dirty="0" smtClean="0">
                <a:solidFill>
                  <a:schemeClr val="bg2">
                    <a:lumMod val="2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BI-</a:t>
            </a:r>
            <a:r>
              <a:rPr lang="ru-RU" dirty="0" smtClean="0">
                <a:solidFill>
                  <a:schemeClr val="bg2">
                    <a:lumMod val="2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интерфейс работы со статистическими данными </a:t>
            </a:r>
            <a:endParaRPr lang="ru-RU" dirty="0">
              <a:solidFill>
                <a:schemeClr val="bg2">
                  <a:lumMod val="25000"/>
                </a:schemeClr>
              </a:solidFill>
              <a:latin typeface="+mj-lt"/>
            </a:endParaRPr>
          </a:p>
        </p:txBody>
      </p:sp>
      <p:cxnSp>
        <p:nvCxnSpPr>
          <p:cNvPr id="48" name="Прямая соединительная линия 47"/>
          <p:cNvCxnSpPr/>
          <p:nvPr/>
        </p:nvCxnSpPr>
        <p:spPr>
          <a:xfrm>
            <a:off x="6571822" y="3446951"/>
            <a:ext cx="1308003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9" name="Group 127">
            <a:extLst>
              <a:ext uri="{FF2B5EF4-FFF2-40B4-BE49-F238E27FC236}">
                <a16:creationId xmlns:a16="http://schemas.microsoft.com/office/drawing/2014/main" xmlns="" id="{23FB8B26-34C0-40EB-92B1-8C8903FB6821}"/>
              </a:ext>
            </a:extLst>
          </p:cNvPr>
          <p:cNvGrpSpPr/>
          <p:nvPr/>
        </p:nvGrpSpPr>
        <p:grpSpPr>
          <a:xfrm>
            <a:off x="10947413" y="2661749"/>
            <a:ext cx="565526" cy="373245"/>
            <a:chOff x="2141517" y="2373325"/>
            <a:chExt cx="476251" cy="314325"/>
          </a:xfrm>
          <a:solidFill>
            <a:schemeClr val="bg2">
              <a:lumMod val="50000"/>
            </a:schemeClr>
          </a:solidFill>
        </p:grpSpPr>
        <p:sp>
          <p:nvSpPr>
            <p:cNvPr id="50" name="Rectangle 22">
              <a:extLst>
                <a:ext uri="{FF2B5EF4-FFF2-40B4-BE49-F238E27FC236}">
                  <a16:creationId xmlns:a16="http://schemas.microsoft.com/office/drawing/2014/main" xmlns="" id="{4F8BF205-AB16-4991-91DD-1D2A8A6DFA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0255" y="2678125"/>
              <a:ext cx="387350" cy="952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51" name="Rectangle 23">
              <a:extLst>
                <a:ext uri="{FF2B5EF4-FFF2-40B4-BE49-F238E27FC236}">
                  <a16:creationId xmlns:a16="http://schemas.microsoft.com/office/drawing/2014/main" xmlns="" id="{107D9B50-1811-4A82-A57E-A859C5C83B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17755" y="2468575"/>
              <a:ext cx="69850" cy="20955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52" name="Rectangle 24">
              <a:extLst>
                <a:ext uri="{FF2B5EF4-FFF2-40B4-BE49-F238E27FC236}">
                  <a16:creationId xmlns:a16="http://schemas.microsoft.com/office/drawing/2014/main" xmlns="" id="{F9966228-AAA4-417F-AC42-62688A953D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38380" y="2547950"/>
              <a:ext cx="69850" cy="13017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53" name="Rectangle 25">
              <a:extLst>
                <a:ext uri="{FF2B5EF4-FFF2-40B4-BE49-F238E27FC236}">
                  <a16:creationId xmlns:a16="http://schemas.microsoft.com/office/drawing/2014/main" xmlns="" id="{E4A96E00-CCCA-4532-9D3C-5A89570E9B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59005" y="2592400"/>
              <a:ext cx="69850" cy="8572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54" name="Rectangle 26">
              <a:extLst>
                <a:ext uri="{FF2B5EF4-FFF2-40B4-BE49-F238E27FC236}">
                  <a16:creationId xmlns:a16="http://schemas.microsoft.com/office/drawing/2014/main" xmlns="" id="{1A1C8B15-4E2F-4CA6-88E9-AFBFC67CB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9630" y="2551125"/>
              <a:ext cx="69850" cy="1270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55" name="Rectangle 27">
              <a:extLst>
                <a:ext uri="{FF2B5EF4-FFF2-40B4-BE49-F238E27FC236}">
                  <a16:creationId xmlns:a16="http://schemas.microsoft.com/office/drawing/2014/main" xmlns="" id="{EFA22CF2-3D2D-4F41-8B33-C81A66D8B4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0255" y="2587637"/>
              <a:ext cx="68263" cy="904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56" name="Freeform 28">
              <a:extLst>
                <a:ext uri="{FF2B5EF4-FFF2-40B4-BE49-F238E27FC236}">
                  <a16:creationId xmlns:a16="http://schemas.microsoft.com/office/drawing/2014/main" xmlns="" id="{F1DA56C2-9D7E-44A2-A18E-E50638C83F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1517" y="2559062"/>
              <a:ext cx="36513" cy="38100"/>
            </a:xfrm>
            <a:custGeom>
              <a:avLst/>
              <a:gdLst/>
              <a:ahLst/>
              <a:cxnLst>
                <a:cxn ang="0">
                  <a:pos x="22" y="0"/>
                </a:cxn>
                <a:cxn ang="0">
                  <a:pos x="22" y="0"/>
                </a:cxn>
                <a:cxn ang="0">
                  <a:pos x="27" y="0"/>
                </a:cxn>
                <a:cxn ang="0">
                  <a:pos x="32" y="1"/>
                </a:cxn>
                <a:cxn ang="0">
                  <a:pos x="36" y="3"/>
                </a:cxn>
                <a:cxn ang="0">
                  <a:pos x="40" y="7"/>
                </a:cxn>
                <a:cxn ang="0">
                  <a:pos x="42" y="10"/>
                </a:cxn>
                <a:cxn ang="0">
                  <a:pos x="45" y="15"/>
                </a:cxn>
                <a:cxn ang="0">
                  <a:pos x="46" y="18"/>
                </a:cxn>
                <a:cxn ang="0">
                  <a:pos x="46" y="23"/>
                </a:cxn>
                <a:cxn ang="0">
                  <a:pos x="46" y="23"/>
                </a:cxn>
                <a:cxn ang="0">
                  <a:pos x="46" y="28"/>
                </a:cxn>
                <a:cxn ang="0">
                  <a:pos x="45" y="32"/>
                </a:cxn>
                <a:cxn ang="0">
                  <a:pos x="42" y="36"/>
                </a:cxn>
                <a:cxn ang="0">
                  <a:pos x="40" y="39"/>
                </a:cxn>
                <a:cxn ang="0">
                  <a:pos x="36" y="43"/>
                </a:cxn>
                <a:cxn ang="0">
                  <a:pos x="32" y="44"/>
                </a:cxn>
                <a:cxn ang="0">
                  <a:pos x="27" y="45"/>
                </a:cxn>
                <a:cxn ang="0">
                  <a:pos x="22" y="47"/>
                </a:cxn>
                <a:cxn ang="0">
                  <a:pos x="22" y="47"/>
                </a:cxn>
                <a:cxn ang="0">
                  <a:pos x="19" y="45"/>
                </a:cxn>
                <a:cxn ang="0">
                  <a:pos x="14" y="44"/>
                </a:cxn>
                <a:cxn ang="0">
                  <a:pos x="10" y="43"/>
                </a:cxn>
                <a:cxn ang="0">
                  <a:pos x="6" y="39"/>
                </a:cxn>
                <a:cxn ang="0">
                  <a:pos x="4" y="36"/>
                </a:cxn>
                <a:cxn ang="0">
                  <a:pos x="1" y="32"/>
                </a:cxn>
                <a:cxn ang="0">
                  <a:pos x="0" y="28"/>
                </a:cxn>
                <a:cxn ang="0">
                  <a:pos x="0" y="23"/>
                </a:cxn>
                <a:cxn ang="0">
                  <a:pos x="0" y="23"/>
                </a:cxn>
                <a:cxn ang="0">
                  <a:pos x="0" y="18"/>
                </a:cxn>
                <a:cxn ang="0">
                  <a:pos x="1" y="15"/>
                </a:cxn>
                <a:cxn ang="0">
                  <a:pos x="4" y="10"/>
                </a:cxn>
                <a:cxn ang="0">
                  <a:pos x="6" y="7"/>
                </a:cxn>
                <a:cxn ang="0">
                  <a:pos x="10" y="3"/>
                </a:cxn>
                <a:cxn ang="0">
                  <a:pos x="14" y="1"/>
                </a:cxn>
                <a:cxn ang="0">
                  <a:pos x="19" y="0"/>
                </a:cxn>
                <a:cxn ang="0">
                  <a:pos x="22" y="0"/>
                </a:cxn>
                <a:cxn ang="0">
                  <a:pos x="22" y="0"/>
                </a:cxn>
              </a:cxnLst>
              <a:rect l="0" t="0" r="r" b="b"/>
              <a:pathLst>
                <a:path w="46" h="47">
                  <a:moveTo>
                    <a:pt x="22" y="0"/>
                  </a:moveTo>
                  <a:lnTo>
                    <a:pt x="22" y="0"/>
                  </a:lnTo>
                  <a:lnTo>
                    <a:pt x="27" y="0"/>
                  </a:lnTo>
                  <a:lnTo>
                    <a:pt x="32" y="1"/>
                  </a:lnTo>
                  <a:lnTo>
                    <a:pt x="36" y="3"/>
                  </a:lnTo>
                  <a:lnTo>
                    <a:pt x="40" y="7"/>
                  </a:lnTo>
                  <a:lnTo>
                    <a:pt x="42" y="10"/>
                  </a:lnTo>
                  <a:lnTo>
                    <a:pt x="45" y="15"/>
                  </a:lnTo>
                  <a:lnTo>
                    <a:pt x="46" y="18"/>
                  </a:lnTo>
                  <a:lnTo>
                    <a:pt x="46" y="23"/>
                  </a:lnTo>
                  <a:lnTo>
                    <a:pt x="46" y="23"/>
                  </a:lnTo>
                  <a:lnTo>
                    <a:pt x="46" y="28"/>
                  </a:lnTo>
                  <a:lnTo>
                    <a:pt x="45" y="32"/>
                  </a:lnTo>
                  <a:lnTo>
                    <a:pt x="42" y="36"/>
                  </a:lnTo>
                  <a:lnTo>
                    <a:pt x="40" y="39"/>
                  </a:lnTo>
                  <a:lnTo>
                    <a:pt x="36" y="43"/>
                  </a:lnTo>
                  <a:lnTo>
                    <a:pt x="32" y="44"/>
                  </a:lnTo>
                  <a:lnTo>
                    <a:pt x="27" y="45"/>
                  </a:lnTo>
                  <a:lnTo>
                    <a:pt x="22" y="47"/>
                  </a:lnTo>
                  <a:lnTo>
                    <a:pt x="22" y="47"/>
                  </a:lnTo>
                  <a:lnTo>
                    <a:pt x="19" y="45"/>
                  </a:lnTo>
                  <a:lnTo>
                    <a:pt x="14" y="44"/>
                  </a:lnTo>
                  <a:lnTo>
                    <a:pt x="10" y="43"/>
                  </a:lnTo>
                  <a:lnTo>
                    <a:pt x="6" y="39"/>
                  </a:lnTo>
                  <a:lnTo>
                    <a:pt x="4" y="36"/>
                  </a:lnTo>
                  <a:lnTo>
                    <a:pt x="1" y="32"/>
                  </a:lnTo>
                  <a:lnTo>
                    <a:pt x="0" y="28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18"/>
                  </a:lnTo>
                  <a:lnTo>
                    <a:pt x="1" y="15"/>
                  </a:lnTo>
                  <a:lnTo>
                    <a:pt x="4" y="10"/>
                  </a:lnTo>
                  <a:lnTo>
                    <a:pt x="6" y="7"/>
                  </a:lnTo>
                  <a:lnTo>
                    <a:pt x="10" y="3"/>
                  </a:lnTo>
                  <a:lnTo>
                    <a:pt x="14" y="1"/>
                  </a:lnTo>
                  <a:lnTo>
                    <a:pt x="19" y="0"/>
                  </a:lnTo>
                  <a:lnTo>
                    <a:pt x="22" y="0"/>
                  </a:lnTo>
                  <a:lnTo>
                    <a:pt x="2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57" name="Freeform 29">
              <a:extLst>
                <a:ext uri="{FF2B5EF4-FFF2-40B4-BE49-F238E27FC236}">
                  <a16:creationId xmlns:a16="http://schemas.microsoft.com/office/drawing/2014/main" xmlns="" id="{A91D99DE-862A-4549-AB9B-E983642F1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8555" y="2373325"/>
              <a:ext cx="49213" cy="47625"/>
            </a:xfrm>
            <a:custGeom>
              <a:avLst/>
              <a:gdLst/>
              <a:ahLst/>
              <a:cxnLst>
                <a:cxn ang="0">
                  <a:pos x="62" y="0"/>
                </a:cxn>
                <a:cxn ang="0">
                  <a:pos x="0" y="1"/>
                </a:cxn>
                <a:cxn ang="0">
                  <a:pos x="22" y="29"/>
                </a:cxn>
                <a:cxn ang="0">
                  <a:pos x="43" y="59"/>
                </a:cxn>
                <a:cxn ang="0">
                  <a:pos x="62" y="0"/>
                </a:cxn>
              </a:cxnLst>
              <a:rect l="0" t="0" r="r" b="b"/>
              <a:pathLst>
                <a:path w="62" h="59">
                  <a:moveTo>
                    <a:pt x="62" y="0"/>
                  </a:moveTo>
                  <a:lnTo>
                    <a:pt x="0" y="1"/>
                  </a:lnTo>
                  <a:lnTo>
                    <a:pt x="22" y="29"/>
                  </a:lnTo>
                  <a:lnTo>
                    <a:pt x="43" y="59"/>
                  </a:lnTo>
                  <a:lnTo>
                    <a:pt x="6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58" name="Freeform 30">
              <a:extLst>
                <a:ext uri="{FF2B5EF4-FFF2-40B4-BE49-F238E27FC236}">
                  <a16:creationId xmlns:a16="http://schemas.microsoft.com/office/drawing/2014/main" xmlns="" id="{D3254C83-451F-4755-A292-B3EABF005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6442" y="2397137"/>
              <a:ext cx="404813" cy="169863"/>
            </a:xfrm>
            <a:custGeom>
              <a:avLst/>
              <a:gdLst/>
              <a:ahLst/>
              <a:cxnLst>
                <a:cxn ang="0">
                  <a:pos x="0" y="204"/>
                </a:cxn>
                <a:cxn ang="0">
                  <a:pos x="176" y="73"/>
                </a:cxn>
                <a:cxn ang="0">
                  <a:pos x="182" y="70"/>
                </a:cxn>
                <a:cxn ang="0">
                  <a:pos x="186" y="75"/>
                </a:cxn>
                <a:cxn ang="0">
                  <a:pos x="270" y="174"/>
                </a:cxn>
                <a:cxn ang="0">
                  <a:pos x="502" y="0"/>
                </a:cxn>
                <a:cxn ang="0">
                  <a:pos x="507" y="7"/>
                </a:cxn>
                <a:cxn ang="0">
                  <a:pos x="511" y="12"/>
                </a:cxn>
                <a:cxn ang="0">
                  <a:pos x="274" y="190"/>
                </a:cxn>
                <a:cxn ang="0">
                  <a:pos x="268" y="193"/>
                </a:cxn>
                <a:cxn ang="0">
                  <a:pos x="263" y="188"/>
                </a:cxn>
                <a:cxn ang="0">
                  <a:pos x="180" y="89"/>
                </a:cxn>
                <a:cxn ang="0">
                  <a:pos x="9" y="216"/>
                </a:cxn>
                <a:cxn ang="0">
                  <a:pos x="9" y="216"/>
                </a:cxn>
                <a:cxn ang="0">
                  <a:pos x="5" y="209"/>
                </a:cxn>
                <a:cxn ang="0">
                  <a:pos x="0" y="204"/>
                </a:cxn>
                <a:cxn ang="0">
                  <a:pos x="0" y="204"/>
                </a:cxn>
              </a:cxnLst>
              <a:rect l="0" t="0" r="r" b="b"/>
              <a:pathLst>
                <a:path w="511" h="216">
                  <a:moveTo>
                    <a:pt x="0" y="204"/>
                  </a:moveTo>
                  <a:lnTo>
                    <a:pt x="176" y="73"/>
                  </a:lnTo>
                  <a:lnTo>
                    <a:pt x="182" y="70"/>
                  </a:lnTo>
                  <a:lnTo>
                    <a:pt x="186" y="75"/>
                  </a:lnTo>
                  <a:lnTo>
                    <a:pt x="270" y="174"/>
                  </a:lnTo>
                  <a:lnTo>
                    <a:pt x="502" y="0"/>
                  </a:lnTo>
                  <a:lnTo>
                    <a:pt x="507" y="7"/>
                  </a:lnTo>
                  <a:lnTo>
                    <a:pt x="511" y="12"/>
                  </a:lnTo>
                  <a:lnTo>
                    <a:pt x="274" y="190"/>
                  </a:lnTo>
                  <a:lnTo>
                    <a:pt x="268" y="193"/>
                  </a:lnTo>
                  <a:lnTo>
                    <a:pt x="263" y="188"/>
                  </a:lnTo>
                  <a:lnTo>
                    <a:pt x="180" y="89"/>
                  </a:lnTo>
                  <a:lnTo>
                    <a:pt x="9" y="216"/>
                  </a:lnTo>
                  <a:lnTo>
                    <a:pt x="9" y="216"/>
                  </a:lnTo>
                  <a:lnTo>
                    <a:pt x="5" y="209"/>
                  </a:lnTo>
                  <a:lnTo>
                    <a:pt x="0" y="204"/>
                  </a:lnTo>
                  <a:lnTo>
                    <a:pt x="0" y="20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62" name="Freeform 69">
            <a:extLst>
              <a:ext uri="{FF2B5EF4-FFF2-40B4-BE49-F238E27FC236}">
                <a16:creationId xmlns:a16="http://schemas.microsoft.com/office/drawing/2014/main" xmlns="" id="{6CFF145F-0571-4020-A182-16FEA4EB8DDE}"/>
              </a:ext>
            </a:extLst>
          </p:cNvPr>
          <p:cNvSpPr>
            <a:spLocks noEditPoints="1"/>
          </p:cNvSpPr>
          <p:nvPr/>
        </p:nvSpPr>
        <p:spPr bwMode="auto">
          <a:xfrm>
            <a:off x="1110390" y="4089626"/>
            <a:ext cx="401225" cy="588204"/>
          </a:xfrm>
          <a:custGeom>
            <a:avLst/>
            <a:gdLst/>
            <a:ahLst/>
            <a:cxnLst>
              <a:cxn ang="0">
                <a:pos x="180" y="76"/>
              </a:cxn>
              <a:cxn ang="0">
                <a:pos x="167" y="34"/>
              </a:cxn>
              <a:cxn ang="0">
                <a:pos x="133" y="7"/>
              </a:cxn>
              <a:cxn ang="0">
                <a:pos x="104" y="0"/>
              </a:cxn>
              <a:cxn ang="0">
                <a:pos x="62" y="14"/>
              </a:cxn>
              <a:cxn ang="0">
                <a:pos x="35" y="47"/>
              </a:cxn>
              <a:cxn ang="0">
                <a:pos x="27" y="132"/>
              </a:cxn>
              <a:cxn ang="0">
                <a:pos x="17" y="136"/>
              </a:cxn>
              <a:cxn ang="0">
                <a:pos x="0" y="156"/>
              </a:cxn>
              <a:cxn ang="0">
                <a:pos x="0" y="276"/>
              </a:cxn>
              <a:cxn ang="0">
                <a:pos x="8" y="295"/>
              </a:cxn>
              <a:cxn ang="0">
                <a:pos x="27" y="303"/>
              </a:cxn>
              <a:cxn ang="0">
                <a:pos x="185" y="303"/>
              </a:cxn>
              <a:cxn ang="0">
                <a:pos x="205" y="286"/>
              </a:cxn>
              <a:cxn ang="0">
                <a:pos x="207" y="161"/>
              </a:cxn>
              <a:cxn ang="0">
                <a:pos x="205" y="150"/>
              </a:cxn>
              <a:cxn ang="0">
                <a:pos x="185" y="134"/>
              </a:cxn>
              <a:cxn ang="0">
                <a:pos x="47" y="76"/>
              </a:cxn>
              <a:cxn ang="0">
                <a:pos x="51" y="54"/>
              </a:cxn>
              <a:cxn ang="0">
                <a:pos x="71" y="29"/>
              </a:cxn>
              <a:cxn ang="0">
                <a:pos x="104" y="20"/>
              </a:cxn>
              <a:cxn ang="0">
                <a:pos x="125" y="24"/>
              </a:cxn>
              <a:cxn ang="0">
                <a:pos x="151" y="45"/>
              </a:cxn>
              <a:cxn ang="0">
                <a:pos x="160" y="76"/>
              </a:cxn>
              <a:cxn ang="0">
                <a:pos x="47" y="76"/>
              </a:cxn>
              <a:cxn ang="0">
                <a:pos x="187" y="279"/>
              </a:cxn>
              <a:cxn ang="0">
                <a:pos x="180" y="285"/>
              </a:cxn>
              <a:cxn ang="0">
                <a:pos x="24" y="283"/>
              </a:cxn>
              <a:cxn ang="0">
                <a:pos x="18" y="276"/>
              </a:cxn>
              <a:cxn ang="0">
                <a:pos x="18" y="158"/>
              </a:cxn>
              <a:cxn ang="0">
                <a:pos x="27" y="152"/>
              </a:cxn>
              <a:cxn ang="0">
                <a:pos x="183" y="152"/>
              </a:cxn>
              <a:cxn ang="0">
                <a:pos x="189" y="161"/>
              </a:cxn>
              <a:cxn ang="0">
                <a:pos x="113" y="190"/>
              </a:cxn>
              <a:cxn ang="0">
                <a:pos x="111" y="183"/>
              </a:cxn>
              <a:cxn ang="0">
                <a:pos x="104" y="179"/>
              </a:cxn>
              <a:cxn ang="0">
                <a:pos x="95" y="187"/>
              </a:cxn>
              <a:cxn ang="0">
                <a:pos x="95" y="212"/>
              </a:cxn>
              <a:cxn ang="0">
                <a:pos x="85" y="223"/>
              </a:cxn>
              <a:cxn ang="0">
                <a:pos x="85" y="236"/>
              </a:cxn>
              <a:cxn ang="0">
                <a:pos x="104" y="246"/>
              </a:cxn>
              <a:cxn ang="0">
                <a:pos x="116" y="241"/>
              </a:cxn>
              <a:cxn ang="0">
                <a:pos x="122" y="228"/>
              </a:cxn>
              <a:cxn ang="0">
                <a:pos x="116" y="214"/>
              </a:cxn>
            </a:cxnLst>
            <a:rect l="0" t="0" r="r" b="b"/>
            <a:pathLst>
              <a:path w="207" h="303">
                <a:moveTo>
                  <a:pt x="180" y="132"/>
                </a:moveTo>
                <a:lnTo>
                  <a:pt x="180" y="76"/>
                </a:lnTo>
                <a:lnTo>
                  <a:pt x="180" y="76"/>
                </a:lnTo>
                <a:lnTo>
                  <a:pt x="178" y="62"/>
                </a:lnTo>
                <a:lnTo>
                  <a:pt x="172" y="47"/>
                </a:lnTo>
                <a:lnTo>
                  <a:pt x="167" y="34"/>
                </a:lnTo>
                <a:lnTo>
                  <a:pt x="156" y="24"/>
                </a:lnTo>
                <a:lnTo>
                  <a:pt x="145" y="14"/>
                </a:lnTo>
                <a:lnTo>
                  <a:pt x="133" y="7"/>
                </a:lnTo>
                <a:lnTo>
                  <a:pt x="118" y="2"/>
                </a:lnTo>
                <a:lnTo>
                  <a:pt x="104" y="0"/>
                </a:lnTo>
                <a:lnTo>
                  <a:pt x="104" y="0"/>
                </a:lnTo>
                <a:lnTo>
                  <a:pt x="89" y="2"/>
                </a:lnTo>
                <a:lnTo>
                  <a:pt x="75" y="7"/>
                </a:lnTo>
                <a:lnTo>
                  <a:pt x="62" y="14"/>
                </a:lnTo>
                <a:lnTo>
                  <a:pt x="49" y="24"/>
                </a:lnTo>
                <a:lnTo>
                  <a:pt x="40" y="34"/>
                </a:lnTo>
                <a:lnTo>
                  <a:pt x="35" y="47"/>
                </a:lnTo>
                <a:lnTo>
                  <a:pt x="29" y="62"/>
                </a:lnTo>
                <a:lnTo>
                  <a:pt x="27" y="76"/>
                </a:lnTo>
                <a:lnTo>
                  <a:pt x="27" y="132"/>
                </a:lnTo>
                <a:lnTo>
                  <a:pt x="27" y="132"/>
                </a:lnTo>
                <a:lnTo>
                  <a:pt x="22" y="134"/>
                </a:lnTo>
                <a:lnTo>
                  <a:pt x="17" y="136"/>
                </a:lnTo>
                <a:lnTo>
                  <a:pt x="8" y="141"/>
                </a:lnTo>
                <a:lnTo>
                  <a:pt x="2" y="150"/>
                </a:lnTo>
                <a:lnTo>
                  <a:pt x="0" y="156"/>
                </a:lnTo>
                <a:lnTo>
                  <a:pt x="0" y="161"/>
                </a:lnTo>
                <a:lnTo>
                  <a:pt x="0" y="276"/>
                </a:lnTo>
                <a:lnTo>
                  <a:pt x="0" y="276"/>
                </a:lnTo>
                <a:lnTo>
                  <a:pt x="0" y="281"/>
                </a:lnTo>
                <a:lnTo>
                  <a:pt x="2" y="286"/>
                </a:lnTo>
                <a:lnTo>
                  <a:pt x="8" y="295"/>
                </a:lnTo>
                <a:lnTo>
                  <a:pt x="17" y="301"/>
                </a:lnTo>
                <a:lnTo>
                  <a:pt x="22" y="303"/>
                </a:lnTo>
                <a:lnTo>
                  <a:pt x="27" y="303"/>
                </a:lnTo>
                <a:lnTo>
                  <a:pt x="180" y="303"/>
                </a:lnTo>
                <a:lnTo>
                  <a:pt x="180" y="303"/>
                </a:lnTo>
                <a:lnTo>
                  <a:pt x="185" y="303"/>
                </a:lnTo>
                <a:lnTo>
                  <a:pt x="191" y="301"/>
                </a:lnTo>
                <a:lnTo>
                  <a:pt x="200" y="295"/>
                </a:lnTo>
                <a:lnTo>
                  <a:pt x="205" y="286"/>
                </a:lnTo>
                <a:lnTo>
                  <a:pt x="207" y="281"/>
                </a:lnTo>
                <a:lnTo>
                  <a:pt x="207" y="276"/>
                </a:lnTo>
                <a:lnTo>
                  <a:pt x="207" y="161"/>
                </a:lnTo>
                <a:lnTo>
                  <a:pt x="207" y="161"/>
                </a:lnTo>
                <a:lnTo>
                  <a:pt x="207" y="156"/>
                </a:lnTo>
                <a:lnTo>
                  <a:pt x="205" y="150"/>
                </a:lnTo>
                <a:lnTo>
                  <a:pt x="200" y="141"/>
                </a:lnTo>
                <a:lnTo>
                  <a:pt x="191" y="136"/>
                </a:lnTo>
                <a:lnTo>
                  <a:pt x="185" y="134"/>
                </a:lnTo>
                <a:lnTo>
                  <a:pt x="180" y="132"/>
                </a:lnTo>
                <a:lnTo>
                  <a:pt x="180" y="132"/>
                </a:lnTo>
                <a:close/>
                <a:moveTo>
                  <a:pt x="47" y="76"/>
                </a:moveTo>
                <a:lnTo>
                  <a:pt x="47" y="76"/>
                </a:lnTo>
                <a:lnTo>
                  <a:pt x="47" y="65"/>
                </a:lnTo>
                <a:lnTo>
                  <a:pt x="51" y="54"/>
                </a:lnTo>
                <a:lnTo>
                  <a:pt x="56" y="45"/>
                </a:lnTo>
                <a:lnTo>
                  <a:pt x="64" y="36"/>
                </a:lnTo>
                <a:lnTo>
                  <a:pt x="71" y="29"/>
                </a:lnTo>
                <a:lnTo>
                  <a:pt x="82" y="24"/>
                </a:lnTo>
                <a:lnTo>
                  <a:pt x="93" y="20"/>
                </a:lnTo>
                <a:lnTo>
                  <a:pt x="104" y="20"/>
                </a:lnTo>
                <a:lnTo>
                  <a:pt x="104" y="20"/>
                </a:lnTo>
                <a:lnTo>
                  <a:pt x="114" y="20"/>
                </a:lnTo>
                <a:lnTo>
                  <a:pt x="125" y="24"/>
                </a:lnTo>
                <a:lnTo>
                  <a:pt x="134" y="29"/>
                </a:lnTo>
                <a:lnTo>
                  <a:pt x="143" y="36"/>
                </a:lnTo>
                <a:lnTo>
                  <a:pt x="151" y="45"/>
                </a:lnTo>
                <a:lnTo>
                  <a:pt x="156" y="54"/>
                </a:lnTo>
                <a:lnTo>
                  <a:pt x="160" y="65"/>
                </a:lnTo>
                <a:lnTo>
                  <a:pt x="160" y="76"/>
                </a:lnTo>
                <a:lnTo>
                  <a:pt x="160" y="132"/>
                </a:lnTo>
                <a:lnTo>
                  <a:pt x="47" y="132"/>
                </a:lnTo>
                <a:lnTo>
                  <a:pt x="47" y="76"/>
                </a:lnTo>
                <a:close/>
                <a:moveTo>
                  <a:pt x="189" y="276"/>
                </a:moveTo>
                <a:lnTo>
                  <a:pt x="189" y="276"/>
                </a:lnTo>
                <a:lnTo>
                  <a:pt x="187" y="279"/>
                </a:lnTo>
                <a:lnTo>
                  <a:pt x="185" y="281"/>
                </a:lnTo>
                <a:lnTo>
                  <a:pt x="183" y="283"/>
                </a:lnTo>
                <a:lnTo>
                  <a:pt x="180" y="285"/>
                </a:lnTo>
                <a:lnTo>
                  <a:pt x="27" y="285"/>
                </a:lnTo>
                <a:lnTo>
                  <a:pt x="27" y="285"/>
                </a:lnTo>
                <a:lnTo>
                  <a:pt x="24" y="283"/>
                </a:lnTo>
                <a:lnTo>
                  <a:pt x="22" y="281"/>
                </a:lnTo>
                <a:lnTo>
                  <a:pt x="18" y="279"/>
                </a:lnTo>
                <a:lnTo>
                  <a:pt x="18" y="276"/>
                </a:lnTo>
                <a:lnTo>
                  <a:pt x="18" y="161"/>
                </a:lnTo>
                <a:lnTo>
                  <a:pt x="18" y="161"/>
                </a:lnTo>
                <a:lnTo>
                  <a:pt x="18" y="158"/>
                </a:lnTo>
                <a:lnTo>
                  <a:pt x="22" y="154"/>
                </a:lnTo>
                <a:lnTo>
                  <a:pt x="24" y="152"/>
                </a:lnTo>
                <a:lnTo>
                  <a:pt x="27" y="152"/>
                </a:lnTo>
                <a:lnTo>
                  <a:pt x="180" y="152"/>
                </a:lnTo>
                <a:lnTo>
                  <a:pt x="180" y="152"/>
                </a:lnTo>
                <a:lnTo>
                  <a:pt x="183" y="152"/>
                </a:lnTo>
                <a:lnTo>
                  <a:pt x="185" y="154"/>
                </a:lnTo>
                <a:lnTo>
                  <a:pt x="187" y="158"/>
                </a:lnTo>
                <a:lnTo>
                  <a:pt x="189" y="161"/>
                </a:lnTo>
                <a:lnTo>
                  <a:pt x="189" y="276"/>
                </a:lnTo>
                <a:close/>
                <a:moveTo>
                  <a:pt x="113" y="212"/>
                </a:moveTo>
                <a:lnTo>
                  <a:pt x="113" y="190"/>
                </a:lnTo>
                <a:lnTo>
                  <a:pt x="113" y="190"/>
                </a:lnTo>
                <a:lnTo>
                  <a:pt x="113" y="187"/>
                </a:lnTo>
                <a:lnTo>
                  <a:pt x="111" y="183"/>
                </a:lnTo>
                <a:lnTo>
                  <a:pt x="107" y="181"/>
                </a:lnTo>
                <a:lnTo>
                  <a:pt x="104" y="179"/>
                </a:lnTo>
                <a:lnTo>
                  <a:pt x="104" y="179"/>
                </a:lnTo>
                <a:lnTo>
                  <a:pt x="100" y="181"/>
                </a:lnTo>
                <a:lnTo>
                  <a:pt x="96" y="183"/>
                </a:lnTo>
                <a:lnTo>
                  <a:pt x="95" y="187"/>
                </a:lnTo>
                <a:lnTo>
                  <a:pt x="95" y="190"/>
                </a:lnTo>
                <a:lnTo>
                  <a:pt x="95" y="212"/>
                </a:lnTo>
                <a:lnTo>
                  <a:pt x="95" y="212"/>
                </a:lnTo>
                <a:lnTo>
                  <a:pt x="91" y="214"/>
                </a:lnTo>
                <a:lnTo>
                  <a:pt x="87" y="217"/>
                </a:lnTo>
                <a:lnTo>
                  <a:pt x="85" y="223"/>
                </a:lnTo>
                <a:lnTo>
                  <a:pt x="85" y="228"/>
                </a:lnTo>
                <a:lnTo>
                  <a:pt x="85" y="228"/>
                </a:lnTo>
                <a:lnTo>
                  <a:pt x="85" y="236"/>
                </a:lnTo>
                <a:lnTo>
                  <a:pt x="91" y="241"/>
                </a:lnTo>
                <a:lnTo>
                  <a:pt x="96" y="245"/>
                </a:lnTo>
                <a:lnTo>
                  <a:pt x="104" y="246"/>
                </a:lnTo>
                <a:lnTo>
                  <a:pt x="104" y="246"/>
                </a:lnTo>
                <a:lnTo>
                  <a:pt x="111" y="245"/>
                </a:lnTo>
                <a:lnTo>
                  <a:pt x="116" y="241"/>
                </a:lnTo>
                <a:lnTo>
                  <a:pt x="122" y="236"/>
                </a:lnTo>
                <a:lnTo>
                  <a:pt x="122" y="228"/>
                </a:lnTo>
                <a:lnTo>
                  <a:pt x="122" y="228"/>
                </a:lnTo>
                <a:lnTo>
                  <a:pt x="122" y="223"/>
                </a:lnTo>
                <a:lnTo>
                  <a:pt x="120" y="217"/>
                </a:lnTo>
                <a:lnTo>
                  <a:pt x="116" y="214"/>
                </a:lnTo>
                <a:lnTo>
                  <a:pt x="113" y="212"/>
                </a:lnTo>
                <a:lnTo>
                  <a:pt x="113" y="212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grpSp>
        <p:nvGrpSpPr>
          <p:cNvPr id="63" name="Group 77">
            <a:extLst>
              <a:ext uri="{FF2B5EF4-FFF2-40B4-BE49-F238E27FC236}">
                <a16:creationId xmlns:a16="http://schemas.microsoft.com/office/drawing/2014/main" xmlns="" id="{A702B16C-210E-4833-9C33-7BA7DAF964DE}"/>
              </a:ext>
            </a:extLst>
          </p:cNvPr>
          <p:cNvGrpSpPr/>
          <p:nvPr/>
        </p:nvGrpSpPr>
        <p:grpSpPr>
          <a:xfrm>
            <a:off x="11003688" y="1319495"/>
            <a:ext cx="452218" cy="346269"/>
            <a:chOff x="5552261" y="1554043"/>
            <a:chExt cx="363359" cy="278229"/>
          </a:xfrm>
          <a:solidFill>
            <a:srgbClr val="8ABC48"/>
          </a:solidFill>
        </p:grpSpPr>
        <p:sp>
          <p:nvSpPr>
            <p:cNvPr id="64" name="Freeform 96">
              <a:extLst>
                <a:ext uri="{FF2B5EF4-FFF2-40B4-BE49-F238E27FC236}">
                  <a16:creationId xmlns:a16="http://schemas.microsoft.com/office/drawing/2014/main" xmlns="" id="{BEB49882-8BAA-485A-94A8-B8CF0914CB56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2261" y="1715997"/>
              <a:ext cx="363359" cy="116275"/>
            </a:xfrm>
            <a:custGeom>
              <a:avLst/>
              <a:gdLst/>
              <a:ahLst/>
              <a:cxnLst>
                <a:cxn ang="0">
                  <a:pos x="211" y="31"/>
                </a:cxn>
                <a:cxn ang="0">
                  <a:pos x="140" y="31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96"/>
                </a:cxn>
                <a:cxn ang="0">
                  <a:pos x="0" y="96"/>
                </a:cxn>
                <a:cxn ang="0">
                  <a:pos x="2" y="102"/>
                </a:cxn>
                <a:cxn ang="0">
                  <a:pos x="4" y="107"/>
                </a:cxn>
                <a:cxn ang="0">
                  <a:pos x="9" y="111"/>
                </a:cxn>
                <a:cxn ang="0">
                  <a:pos x="17" y="112"/>
                </a:cxn>
                <a:cxn ang="0">
                  <a:pos x="334" y="112"/>
                </a:cxn>
                <a:cxn ang="0">
                  <a:pos x="334" y="112"/>
                </a:cxn>
                <a:cxn ang="0">
                  <a:pos x="341" y="111"/>
                </a:cxn>
                <a:cxn ang="0">
                  <a:pos x="347" y="107"/>
                </a:cxn>
                <a:cxn ang="0">
                  <a:pos x="350" y="102"/>
                </a:cxn>
                <a:cxn ang="0">
                  <a:pos x="350" y="96"/>
                </a:cxn>
                <a:cxn ang="0">
                  <a:pos x="350" y="0"/>
                </a:cxn>
                <a:cxn ang="0">
                  <a:pos x="211" y="0"/>
                </a:cxn>
                <a:cxn ang="0">
                  <a:pos x="211" y="31"/>
                </a:cxn>
              </a:cxnLst>
              <a:rect l="0" t="0" r="r" b="b"/>
              <a:pathLst>
                <a:path w="350" h="112">
                  <a:moveTo>
                    <a:pt x="211" y="31"/>
                  </a:moveTo>
                  <a:lnTo>
                    <a:pt x="140" y="31"/>
                  </a:lnTo>
                  <a:lnTo>
                    <a:pt x="140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2" y="102"/>
                  </a:lnTo>
                  <a:lnTo>
                    <a:pt x="4" y="107"/>
                  </a:lnTo>
                  <a:lnTo>
                    <a:pt x="9" y="111"/>
                  </a:lnTo>
                  <a:lnTo>
                    <a:pt x="17" y="112"/>
                  </a:lnTo>
                  <a:lnTo>
                    <a:pt x="334" y="112"/>
                  </a:lnTo>
                  <a:lnTo>
                    <a:pt x="334" y="112"/>
                  </a:lnTo>
                  <a:lnTo>
                    <a:pt x="341" y="111"/>
                  </a:lnTo>
                  <a:lnTo>
                    <a:pt x="347" y="107"/>
                  </a:lnTo>
                  <a:lnTo>
                    <a:pt x="350" y="102"/>
                  </a:lnTo>
                  <a:lnTo>
                    <a:pt x="350" y="96"/>
                  </a:lnTo>
                  <a:lnTo>
                    <a:pt x="350" y="0"/>
                  </a:lnTo>
                  <a:lnTo>
                    <a:pt x="211" y="0"/>
                  </a:lnTo>
                  <a:lnTo>
                    <a:pt x="211" y="3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65" name="Freeform 97">
              <a:extLst>
                <a:ext uri="{FF2B5EF4-FFF2-40B4-BE49-F238E27FC236}">
                  <a16:creationId xmlns:a16="http://schemas.microsoft.com/office/drawing/2014/main" xmlns="" id="{E9589E4C-F30F-4F22-8D5C-748AF28782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2261" y="1554043"/>
              <a:ext cx="363359" cy="137038"/>
            </a:xfrm>
            <a:custGeom>
              <a:avLst/>
              <a:gdLst/>
              <a:ahLst/>
              <a:cxnLst>
                <a:cxn ang="0">
                  <a:pos x="334" y="42"/>
                </a:cxn>
                <a:cxn ang="0">
                  <a:pos x="225" y="42"/>
                </a:cxn>
                <a:cxn ang="0">
                  <a:pos x="225" y="42"/>
                </a:cxn>
                <a:cxn ang="0">
                  <a:pos x="225" y="5"/>
                </a:cxn>
                <a:cxn ang="0">
                  <a:pos x="225" y="5"/>
                </a:cxn>
                <a:cxn ang="0">
                  <a:pos x="225" y="2"/>
                </a:cxn>
                <a:cxn ang="0">
                  <a:pos x="223" y="0"/>
                </a:cxn>
                <a:cxn ang="0">
                  <a:pos x="222" y="0"/>
                </a:cxn>
                <a:cxn ang="0">
                  <a:pos x="120" y="0"/>
                </a:cxn>
                <a:cxn ang="0">
                  <a:pos x="120" y="0"/>
                </a:cxn>
                <a:cxn ang="0">
                  <a:pos x="118" y="2"/>
                </a:cxn>
                <a:cxn ang="0">
                  <a:pos x="116" y="4"/>
                </a:cxn>
                <a:cxn ang="0">
                  <a:pos x="115" y="5"/>
                </a:cxn>
                <a:cxn ang="0">
                  <a:pos x="115" y="5"/>
                </a:cxn>
                <a:cxn ang="0">
                  <a:pos x="115" y="42"/>
                </a:cxn>
                <a:cxn ang="0">
                  <a:pos x="17" y="42"/>
                </a:cxn>
                <a:cxn ang="0">
                  <a:pos x="17" y="42"/>
                </a:cxn>
                <a:cxn ang="0">
                  <a:pos x="9" y="42"/>
                </a:cxn>
                <a:cxn ang="0">
                  <a:pos x="4" y="45"/>
                </a:cxn>
                <a:cxn ang="0">
                  <a:pos x="2" y="51"/>
                </a:cxn>
                <a:cxn ang="0">
                  <a:pos x="0" y="58"/>
                </a:cxn>
                <a:cxn ang="0">
                  <a:pos x="0" y="130"/>
                </a:cxn>
                <a:cxn ang="0">
                  <a:pos x="350" y="130"/>
                </a:cxn>
                <a:cxn ang="0">
                  <a:pos x="350" y="58"/>
                </a:cxn>
                <a:cxn ang="0">
                  <a:pos x="350" y="58"/>
                </a:cxn>
                <a:cxn ang="0">
                  <a:pos x="350" y="51"/>
                </a:cxn>
                <a:cxn ang="0">
                  <a:pos x="347" y="45"/>
                </a:cxn>
                <a:cxn ang="0">
                  <a:pos x="341" y="42"/>
                </a:cxn>
                <a:cxn ang="0">
                  <a:pos x="334" y="42"/>
                </a:cxn>
                <a:cxn ang="0">
                  <a:pos x="334" y="42"/>
                </a:cxn>
                <a:cxn ang="0">
                  <a:pos x="133" y="42"/>
                </a:cxn>
                <a:cxn ang="0">
                  <a:pos x="133" y="13"/>
                </a:cxn>
                <a:cxn ang="0">
                  <a:pos x="209" y="13"/>
                </a:cxn>
                <a:cxn ang="0">
                  <a:pos x="209" y="42"/>
                </a:cxn>
                <a:cxn ang="0">
                  <a:pos x="133" y="42"/>
                </a:cxn>
              </a:cxnLst>
              <a:rect l="0" t="0" r="r" b="b"/>
              <a:pathLst>
                <a:path w="350" h="130">
                  <a:moveTo>
                    <a:pt x="334" y="42"/>
                  </a:moveTo>
                  <a:lnTo>
                    <a:pt x="225" y="42"/>
                  </a:lnTo>
                  <a:lnTo>
                    <a:pt x="225" y="42"/>
                  </a:lnTo>
                  <a:lnTo>
                    <a:pt x="225" y="5"/>
                  </a:lnTo>
                  <a:lnTo>
                    <a:pt x="225" y="5"/>
                  </a:lnTo>
                  <a:lnTo>
                    <a:pt x="225" y="2"/>
                  </a:lnTo>
                  <a:lnTo>
                    <a:pt x="223" y="0"/>
                  </a:lnTo>
                  <a:lnTo>
                    <a:pt x="222" y="0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18" y="2"/>
                  </a:lnTo>
                  <a:lnTo>
                    <a:pt x="116" y="4"/>
                  </a:lnTo>
                  <a:lnTo>
                    <a:pt x="115" y="5"/>
                  </a:lnTo>
                  <a:lnTo>
                    <a:pt x="115" y="5"/>
                  </a:lnTo>
                  <a:lnTo>
                    <a:pt x="115" y="42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9" y="42"/>
                  </a:lnTo>
                  <a:lnTo>
                    <a:pt x="4" y="45"/>
                  </a:lnTo>
                  <a:lnTo>
                    <a:pt x="2" y="51"/>
                  </a:lnTo>
                  <a:lnTo>
                    <a:pt x="0" y="58"/>
                  </a:lnTo>
                  <a:lnTo>
                    <a:pt x="0" y="130"/>
                  </a:lnTo>
                  <a:lnTo>
                    <a:pt x="350" y="130"/>
                  </a:lnTo>
                  <a:lnTo>
                    <a:pt x="350" y="58"/>
                  </a:lnTo>
                  <a:lnTo>
                    <a:pt x="350" y="58"/>
                  </a:lnTo>
                  <a:lnTo>
                    <a:pt x="350" y="51"/>
                  </a:lnTo>
                  <a:lnTo>
                    <a:pt x="347" y="45"/>
                  </a:lnTo>
                  <a:lnTo>
                    <a:pt x="341" y="42"/>
                  </a:lnTo>
                  <a:lnTo>
                    <a:pt x="334" y="42"/>
                  </a:lnTo>
                  <a:lnTo>
                    <a:pt x="334" y="42"/>
                  </a:lnTo>
                  <a:close/>
                  <a:moveTo>
                    <a:pt x="133" y="42"/>
                  </a:moveTo>
                  <a:lnTo>
                    <a:pt x="133" y="13"/>
                  </a:lnTo>
                  <a:lnTo>
                    <a:pt x="209" y="13"/>
                  </a:lnTo>
                  <a:lnTo>
                    <a:pt x="209" y="42"/>
                  </a:lnTo>
                  <a:lnTo>
                    <a:pt x="133" y="4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66" name="Rectangle 98">
              <a:extLst>
                <a:ext uri="{FF2B5EF4-FFF2-40B4-BE49-F238E27FC236}">
                  <a16:creationId xmlns:a16="http://schemas.microsoft.com/office/drawing/2014/main" xmlns="" id="{7F0DD6F2-CE5E-454E-AF60-40654CC383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10062" y="1715997"/>
              <a:ext cx="45679" cy="186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67" name="Freeform 104">
            <a:extLst>
              <a:ext uri="{FF2B5EF4-FFF2-40B4-BE49-F238E27FC236}">
                <a16:creationId xmlns:a16="http://schemas.microsoft.com/office/drawing/2014/main" xmlns="" id="{EEA6E803-8121-4E37-8EFD-F270E11B0EA0}"/>
              </a:ext>
            </a:extLst>
          </p:cNvPr>
          <p:cNvSpPr>
            <a:spLocks noEditPoints="1"/>
          </p:cNvSpPr>
          <p:nvPr/>
        </p:nvSpPr>
        <p:spPr bwMode="auto">
          <a:xfrm>
            <a:off x="11055369" y="4097896"/>
            <a:ext cx="400537" cy="390202"/>
          </a:xfrm>
          <a:custGeom>
            <a:avLst/>
            <a:gdLst/>
            <a:ahLst/>
            <a:cxnLst>
              <a:cxn ang="0">
                <a:pos x="243" y="45"/>
              </a:cxn>
              <a:cxn ang="0">
                <a:pos x="243" y="20"/>
              </a:cxn>
              <a:cxn ang="0">
                <a:pos x="238" y="6"/>
              </a:cxn>
              <a:cxn ang="0">
                <a:pos x="221" y="0"/>
              </a:cxn>
              <a:cxn ang="0">
                <a:pos x="214" y="2"/>
              </a:cxn>
              <a:cxn ang="0">
                <a:pos x="203" y="13"/>
              </a:cxn>
              <a:cxn ang="0">
                <a:pos x="202" y="45"/>
              </a:cxn>
              <a:cxn ang="0">
                <a:pos x="109" y="20"/>
              </a:cxn>
              <a:cxn ang="0">
                <a:pos x="107" y="13"/>
              </a:cxn>
              <a:cxn ang="0">
                <a:pos x="96" y="2"/>
              </a:cxn>
              <a:cxn ang="0">
                <a:pos x="87" y="0"/>
              </a:cxn>
              <a:cxn ang="0">
                <a:pos x="73" y="6"/>
              </a:cxn>
              <a:cxn ang="0">
                <a:pos x="67" y="20"/>
              </a:cxn>
              <a:cxn ang="0">
                <a:pos x="17" y="45"/>
              </a:cxn>
              <a:cxn ang="0">
                <a:pos x="9" y="47"/>
              </a:cxn>
              <a:cxn ang="0">
                <a:pos x="2" y="54"/>
              </a:cxn>
              <a:cxn ang="0">
                <a:pos x="0" y="287"/>
              </a:cxn>
              <a:cxn ang="0">
                <a:pos x="2" y="292"/>
              </a:cxn>
              <a:cxn ang="0">
                <a:pos x="9" y="301"/>
              </a:cxn>
              <a:cxn ang="0">
                <a:pos x="294" y="301"/>
              </a:cxn>
              <a:cxn ang="0">
                <a:pos x="301" y="301"/>
              </a:cxn>
              <a:cxn ang="0">
                <a:pos x="308" y="292"/>
              </a:cxn>
              <a:cxn ang="0">
                <a:pos x="310" y="62"/>
              </a:cxn>
              <a:cxn ang="0">
                <a:pos x="308" y="54"/>
              </a:cxn>
              <a:cxn ang="0">
                <a:pos x="301" y="47"/>
              </a:cxn>
              <a:cxn ang="0">
                <a:pos x="294" y="45"/>
              </a:cxn>
              <a:cxn ang="0">
                <a:pos x="145" y="156"/>
              </a:cxn>
              <a:cxn ang="0">
                <a:pos x="96" y="114"/>
              </a:cxn>
              <a:cxn ang="0">
                <a:pos x="165" y="114"/>
              </a:cxn>
              <a:cxn ang="0">
                <a:pos x="214" y="156"/>
              </a:cxn>
              <a:cxn ang="0">
                <a:pos x="165" y="114"/>
              </a:cxn>
              <a:cxn ang="0">
                <a:pos x="75" y="156"/>
              </a:cxn>
              <a:cxn ang="0">
                <a:pos x="31" y="114"/>
              </a:cxn>
              <a:cxn ang="0">
                <a:pos x="75" y="178"/>
              </a:cxn>
              <a:cxn ang="0">
                <a:pos x="31" y="209"/>
              </a:cxn>
              <a:cxn ang="0">
                <a:pos x="75" y="178"/>
              </a:cxn>
              <a:cxn ang="0">
                <a:pos x="145" y="178"/>
              </a:cxn>
              <a:cxn ang="0">
                <a:pos x="96" y="209"/>
              </a:cxn>
              <a:cxn ang="0">
                <a:pos x="145" y="229"/>
              </a:cxn>
              <a:cxn ang="0">
                <a:pos x="96" y="270"/>
              </a:cxn>
              <a:cxn ang="0">
                <a:pos x="145" y="229"/>
              </a:cxn>
              <a:cxn ang="0">
                <a:pos x="214" y="229"/>
              </a:cxn>
              <a:cxn ang="0">
                <a:pos x="165" y="270"/>
              </a:cxn>
              <a:cxn ang="0">
                <a:pos x="165" y="209"/>
              </a:cxn>
              <a:cxn ang="0">
                <a:pos x="214" y="178"/>
              </a:cxn>
              <a:cxn ang="0">
                <a:pos x="165" y="209"/>
              </a:cxn>
              <a:cxn ang="0">
                <a:pos x="279" y="178"/>
              </a:cxn>
              <a:cxn ang="0">
                <a:pos x="236" y="209"/>
              </a:cxn>
              <a:cxn ang="0">
                <a:pos x="236" y="156"/>
              </a:cxn>
              <a:cxn ang="0">
                <a:pos x="279" y="114"/>
              </a:cxn>
              <a:cxn ang="0">
                <a:pos x="236" y="156"/>
              </a:cxn>
              <a:cxn ang="0">
                <a:pos x="75" y="229"/>
              </a:cxn>
              <a:cxn ang="0">
                <a:pos x="31" y="270"/>
              </a:cxn>
              <a:cxn ang="0">
                <a:pos x="236" y="270"/>
              </a:cxn>
              <a:cxn ang="0">
                <a:pos x="279" y="229"/>
              </a:cxn>
              <a:cxn ang="0">
                <a:pos x="236" y="270"/>
              </a:cxn>
            </a:cxnLst>
            <a:rect l="0" t="0" r="r" b="b"/>
            <a:pathLst>
              <a:path w="310" h="301">
                <a:moveTo>
                  <a:pt x="294" y="45"/>
                </a:moveTo>
                <a:lnTo>
                  <a:pt x="243" y="45"/>
                </a:lnTo>
                <a:lnTo>
                  <a:pt x="243" y="20"/>
                </a:lnTo>
                <a:lnTo>
                  <a:pt x="243" y="20"/>
                </a:lnTo>
                <a:lnTo>
                  <a:pt x="241" y="13"/>
                </a:lnTo>
                <a:lnTo>
                  <a:pt x="238" y="6"/>
                </a:lnTo>
                <a:lnTo>
                  <a:pt x="231" y="2"/>
                </a:lnTo>
                <a:lnTo>
                  <a:pt x="221" y="0"/>
                </a:lnTo>
                <a:lnTo>
                  <a:pt x="221" y="0"/>
                </a:lnTo>
                <a:lnTo>
                  <a:pt x="214" y="2"/>
                </a:lnTo>
                <a:lnTo>
                  <a:pt x="207" y="6"/>
                </a:lnTo>
                <a:lnTo>
                  <a:pt x="203" y="13"/>
                </a:lnTo>
                <a:lnTo>
                  <a:pt x="202" y="20"/>
                </a:lnTo>
                <a:lnTo>
                  <a:pt x="202" y="45"/>
                </a:lnTo>
                <a:lnTo>
                  <a:pt x="109" y="45"/>
                </a:lnTo>
                <a:lnTo>
                  <a:pt x="109" y="20"/>
                </a:lnTo>
                <a:lnTo>
                  <a:pt x="109" y="20"/>
                </a:lnTo>
                <a:lnTo>
                  <a:pt x="107" y="13"/>
                </a:lnTo>
                <a:lnTo>
                  <a:pt x="102" y="6"/>
                </a:lnTo>
                <a:lnTo>
                  <a:pt x="96" y="2"/>
                </a:lnTo>
                <a:lnTo>
                  <a:pt x="87" y="0"/>
                </a:lnTo>
                <a:lnTo>
                  <a:pt x="87" y="0"/>
                </a:lnTo>
                <a:lnTo>
                  <a:pt x="80" y="2"/>
                </a:lnTo>
                <a:lnTo>
                  <a:pt x="73" y="6"/>
                </a:lnTo>
                <a:lnTo>
                  <a:pt x="69" y="13"/>
                </a:lnTo>
                <a:lnTo>
                  <a:pt x="67" y="20"/>
                </a:lnTo>
                <a:lnTo>
                  <a:pt x="67" y="45"/>
                </a:lnTo>
                <a:lnTo>
                  <a:pt x="17" y="45"/>
                </a:lnTo>
                <a:lnTo>
                  <a:pt x="17" y="45"/>
                </a:lnTo>
                <a:lnTo>
                  <a:pt x="9" y="47"/>
                </a:lnTo>
                <a:lnTo>
                  <a:pt x="4" y="51"/>
                </a:lnTo>
                <a:lnTo>
                  <a:pt x="2" y="54"/>
                </a:lnTo>
                <a:lnTo>
                  <a:pt x="0" y="62"/>
                </a:lnTo>
                <a:lnTo>
                  <a:pt x="0" y="287"/>
                </a:lnTo>
                <a:lnTo>
                  <a:pt x="0" y="287"/>
                </a:lnTo>
                <a:lnTo>
                  <a:pt x="2" y="292"/>
                </a:lnTo>
                <a:lnTo>
                  <a:pt x="4" y="297"/>
                </a:lnTo>
                <a:lnTo>
                  <a:pt x="9" y="301"/>
                </a:lnTo>
                <a:lnTo>
                  <a:pt x="17" y="301"/>
                </a:lnTo>
                <a:lnTo>
                  <a:pt x="294" y="301"/>
                </a:lnTo>
                <a:lnTo>
                  <a:pt x="294" y="301"/>
                </a:lnTo>
                <a:lnTo>
                  <a:pt x="301" y="301"/>
                </a:lnTo>
                <a:lnTo>
                  <a:pt x="305" y="297"/>
                </a:lnTo>
                <a:lnTo>
                  <a:pt x="308" y="292"/>
                </a:lnTo>
                <a:lnTo>
                  <a:pt x="310" y="287"/>
                </a:lnTo>
                <a:lnTo>
                  <a:pt x="310" y="62"/>
                </a:lnTo>
                <a:lnTo>
                  <a:pt x="310" y="62"/>
                </a:lnTo>
                <a:lnTo>
                  <a:pt x="308" y="54"/>
                </a:lnTo>
                <a:lnTo>
                  <a:pt x="305" y="51"/>
                </a:lnTo>
                <a:lnTo>
                  <a:pt x="301" y="47"/>
                </a:lnTo>
                <a:lnTo>
                  <a:pt x="294" y="45"/>
                </a:lnTo>
                <a:lnTo>
                  <a:pt x="294" y="45"/>
                </a:lnTo>
                <a:close/>
                <a:moveTo>
                  <a:pt x="145" y="114"/>
                </a:moveTo>
                <a:lnTo>
                  <a:pt x="145" y="156"/>
                </a:lnTo>
                <a:lnTo>
                  <a:pt x="96" y="156"/>
                </a:lnTo>
                <a:lnTo>
                  <a:pt x="96" y="114"/>
                </a:lnTo>
                <a:lnTo>
                  <a:pt x="145" y="114"/>
                </a:lnTo>
                <a:close/>
                <a:moveTo>
                  <a:pt x="165" y="114"/>
                </a:moveTo>
                <a:lnTo>
                  <a:pt x="214" y="114"/>
                </a:lnTo>
                <a:lnTo>
                  <a:pt x="214" y="156"/>
                </a:lnTo>
                <a:lnTo>
                  <a:pt x="165" y="156"/>
                </a:lnTo>
                <a:lnTo>
                  <a:pt x="165" y="114"/>
                </a:lnTo>
                <a:close/>
                <a:moveTo>
                  <a:pt x="75" y="114"/>
                </a:moveTo>
                <a:lnTo>
                  <a:pt x="75" y="156"/>
                </a:lnTo>
                <a:lnTo>
                  <a:pt x="31" y="156"/>
                </a:lnTo>
                <a:lnTo>
                  <a:pt x="31" y="114"/>
                </a:lnTo>
                <a:lnTo>
                  <a:pt x="75" y="114"/>
                </a:lnTo>
                <a:close/>
                <a:moveTo>
                  <a:pt x="75" y="178"/>
                </a:moveTo>
                <a:lnTo>
                  <a:pt x="75" y="209"/>
                </a:lnTo>
                <a:lnTo>
                  <a:pt x="31" y="209"/>
                </a:lnTo>
                <a:lnTo>
                  <a:pt x="31" y="178"/>
                </a:lnTo>
                <a:lnTo>
                  <a:pt x="75" y="178"/>
                </a:lnTo>
                <a:close/>
                <a:moveTo>
                  <a:pt x="96" y="178"/>
                </a:moveTo>
                <a:lnTo>
                  <a:pt x="145" y="178"/>
                </a:lnTo>
                <a:lnTo>
                  <a:pt x="145" y="209"/>
                </a:lnTo>
                <a:lnTo>
                  <a:pt x="96" y="209"/>
                </a:lnTo>
                <a:lnTo>
                  <a:pt x="96" y="178"/>
                </a:lnTo>
                <a:close/>
                <a:moveTo>
                  <a:pt x="145" y="229"/>
                </a:moveTo>
                <a:lnTo>
                  <a:pt x="145" y="270"/>
                </a:lnTo>
                <a:lnTo>
                  <a:pt x="96" y="270"/>
                </a:lnTo>
                <a:lnTo>
                  <a:pt x="96" y="229"/>
                </a:lnTo>
                <a:lnTo>
                  <a:pt x="145" y="229"/>
                </a:lnTo>
                <a:close/>
                <a:moveTo>
                  <a:pt x="165" y="229"/>
                </a:moveTo>
                <a:lnTo>
                  <a:pt x="214" y="229"/>
                </a:lnTo>
                <a:lnTo>
                  <a:pt x="214" y="270"/>
                </a:lnTo>
                <a:lnTo>
                  <a:pt x="165" y="270"/>
                </a:lnTo>
                <a:lnTo>
                  <a:pt x="165" y="229"/>
                </a:lnTo>
                <a:close/>
                <a:moveTo>
                  <a:pt x="165" y="209"/>
                </a:moveTo>
                <a:lnTo>
                  <a:pt x="165" y="178"/>
                </a:lnTo>
                <a:lnTo>
                  <a:pt x="214" y="178"/>
                </a:lnTo>
                <a:lnTo>
                  <a:pt x="214" y="209"/>
                </a:lnTo>
                <a:lnTo>
                  <a:pt x="165" y="209"/>
                </a:lnTo>
                <a:close/>
                <a:moveTo>
                  <a:pt x="236" y="178"/>
                </a:moveTo>
                <a:lnTo>
                  <a:pt x="279" y="178"/>
                </a:lnTo>
                <a:lnTo>
                  <a:pt x="279" y="209"/>
                </a:lnTo>
                <a:lnTo>
                  <a:pt x="236" y="209"/>
                </a:lnTo>
                <a:lnTo>
                  <a:pt x="236" y="178"/>
                </a:lnTo>
                <a:close/>
                <a:moveTo>
                  <a:pt x="236" y="156"/>
                </a:moveTo>
                <a:lnTo>
                  <a:pt x="236" y="114"/>
                </a:lnTo>
                <a:lnTo>
                  <a:pt x="279" y="114"/>
                </a:lnTo>
                <a:lnTo>
                  <a:pt x="279" y="156"/>
                </a:lnTo>
                <a:lnTo>
                  <a:pt x="236" y="156"/>
                </a:lnTo>
                <a:close/>
                <a:moveTo>
                  <a:pt x="31" y="229"/>
                </a:moveTo>
                <a:lnTo>
                  <a:pt x="75" y="229"/>
                </a:lnTo>
                <a:lnTo>
                  <a:pt x="75" y="270"/>
                </a:lnTo>
                <a:lnTo>
                  <a:pt x="31" y="270"/>
                </a:lnTo>
                <a:lnTo>
                  <a:pt x="31" y="229"/>
                </a:lnTo>
                <a:close/>
                <a:moveTo>
                  <a:pt x="236" y="270"/>
                </a:moveTo>
                <a:lnTo>
                  <a:pt x="236" y="229"/>
                </a:lnTo>
                <a:lnTo>
                  <a:pt x="279" y="229"/>
                </a:lnTo>
                <a:lnTo>
                  <a:pt x="279" y="270"/>
                </a:lnTo>
                <a:lnTo>
                  <a:pt x="236" y="270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sp>
        <p:nvSpPr>
          <p:cNvPr id="59" name="Freeform 26"/>
          <p:cNvSpPr>
            <a:spLocks noChangeAspect="1"/>
          </p:cNvSpPr>
          <p:nvPr/>
        </p:nvSpPr>
        <p:spPr>
          <a:xfrm>
            <a:off x="5433291" y="5341213"/>
            <a:ext cx="1398444" cy="1378567"/>
          </a:xfrm>
          <a:custGeom>
            <a:avLst/>
            <a:gdLst>
              <a:gd name="connsiteX0" fmla="*/ 665158 w 1325651"/>
              <a:gd name="connsiteY0" fmla="*/ 0 h 1479340"/>
              <a:gd name="connsiteX1" fmla="*/ 1325651 w 1325651"/>
              <a:gd name="connsiteY1" fmla="*/ 324075 h 1479340"/>
              <a:gd name="connsiteX2" fmla="*/ 1325651 w 1325651"/>
              <a:gd name="connsiteY2" fmla="*/ 1155265 h 1479340"/>
              <a:gd name="connsiteX3" fmla="*/ 665158 w 1325651"/>
              <a:gd name="connsiteY3" fmla="*/ 1479340 h 1479340"/>
              <a:gd name="connsiteX4" fmla="*/ 665154 w 1325651"/>
              <a:gd name="connsiteY4" fmla="*/ 0 h 1479340"/>
              <a:gd name="connsiteX5" fmla="*/ 665154 w 1325651"/>
              <a:gd name="connsiteY5" fmla="*/ 1479340 h 1479340"/>
              <a:gd name="connsiteX6" fmla="*/ 0 w 1325651"/>
              <a:gd name="connsiteY6" fmla="*/ 1155265 h 1479340"/>
              <a:gd name="connsiteX7" fmla="*/ 0 w 1325651"/>
              <a:gd name="connsiteY7" fmla="*/ 324075 h 1479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25651" h="1479340">
                <a:moveTo>
                  <a:pt x="665158" y="0"/>
                </a:moveTo>
                <a:lnTo>
                  <a:pt x="1325651" y="324075"/>
                </a:lnTo>
                <a:lnTo>
                  <a:pt x="1325651" y="1155265"/>
                </a:lnTo>
                <a:lnTo>
                  <a:pt x="665158" y="1479340"/>
                </a:lnTo>
                <a:close/>
                <a:moveTo>
                  <a:pt x="665154" y="0"/>
                </a:moveTo>
                <a:lnTo>
                  <a:pt x="665154" y="1479340"/>
                </a:lnTo>
                <a:lnTo>
                  <a:pt x="0" y="1155265"/>
                </a:lnTo>
                <a:lnTo>
                  <a:pt x="0" y="324075"/>
                </a:lnTo>
                <a:close/>
              </a:path>
            </a:pathLst>
          </a:custGeom>
          <a:gradFill>
            <a:gsLst>
              <a:gs pos="50000">
                <a:schemeClr val="bg1">
                  <a:lumMod val="95000"/>
                </a:schemeClr>
              </a:gs>
              <a:gs pos="55000">
                <a:schemeClr val="bg1">
                  <a:lumMod val="8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ЦАП</a:t>
            </a:r>
          </a:p>
          <a:p>
            <a:pPr algn="ctr"/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Население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8169836" y="4250296"/>
            <a:ext cx="312548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ФПСР – </a:t>
            </a:r>
            <a:r>
              <a:rPr lang="ru-RU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информационная система федерального плана статистических работ (все </a:t>
            </a:r>
            <a:r>
              <a:rPr lang="ru-RU" dirty="0" err="1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стат.работы</a:t>
            </a:r>
            <a:r>
              <a:rPr lang="ru-RU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в единой базе)</a:t>
            </a:r>
            <a:endParaRPr lang="ru-RU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2485487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3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Заголовок 3">
            <a:extLst>
              <a:ext uri="{FF2B5EF4-FFF2-40B4-BE49-F238E27FC236}">
                <a16:creationId xmlns:a16="http://schemas.microsoft.com/office/drawing/2014/main" xmlns="" id="{1E46A5A6-BBD1-8541-81F7-091CC61C1D82}"/>
              </a:ext>
            </a:extLst>
          </p:cNvPr>
          <p:cNvSpPr txBox="1">
            <a:spLocks/>
          </p:cNvSpPr>
          <p:nvPr/>
        </p:nvSpPr>
        <p:spPr>
          <a:xfrm>
            <a:off x="1455568" y="168706"/>
            <a:ext cx="11015670" cy="546625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80000"/>
              </a:lnSpc>
              <a:defRPr/>
            </a:pPr>
            <a:r>
              <a:rPr lang="ru-RU" sz="3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Инвентаризация форм </a:t>
            </a:r>
            <a:r>
              <a:rPr lang="ru-RU" sz="3600" b="1" dirty="0" err="1" smtClean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статотчетности</a:t>
            </a:r>
            <a:endParaRPr lang="ru-RU" sz="3600" b="1" dirty="0">
              <a:solidFill>
                <a:schemeClr val="tx1">
                  <a:lumMod val="95000"/>
                  <a:lumOff val="5000"/>
                </a:schemeClr>
              </a:solidFill>
              <a:latin typeface="+mn-lt"/>
            </a:endParaRPr>
          </a:p>
        </p:txBody>
      </p:sp>
      <p:grpSp>
        <p:nvGrpSpPr>
          <p:cNvPr id="12" name="Group 1">
            <a:extLst>
              <a:ext uri="{FF2B5EF4-FFF2-40B4-BE49-F238E27FC236}">
                <a16:creationId xmlns:a16="http://schemas.microsoft.com/office/drawing/2014/main" xmlns="" id="{CE5B862E-3BC1-4EBE-B2C0-D13AA06F95F6}"/>
              </a:ext>
            </a:extLst>
          </p:cNvPr>
          <p:cNvGrpSpPr/>
          <p:nvPr/>
        </p:nvGrpSpPr>
        <p:grpSpPr>
          <a:xfrm>
            <a:off x="104030" y="57514"/>
            <a:ext cx="1198881" cy="1198881"/>
            <a:chOff x="5496559" y="1760636"/>
            <a:chExt cx="1198881" cy="1198881"/>
          </a:xfrm>
        </p:grpSpPr>
        <p:sp>
          <p:nvSpPr>
            <p:cNvPr id="13" name="Rectangle 61">
              <a:extLst>
                <a:ext uri="{FF2B5EF4-FFF2-40B4-BE49-F238E27FC236}">
                  <a16:creationId xmlns:a16="http://schemas.microsoft.com/office/drawing/2014/main" xmlns="" id="{FEE83CC7-38AC-4D09-A2B7-E6FA4242154B}"/>
                </a:ext>
              </a:extLst>
            </p:cNvPr>
            <p:cNvSpPr/>
            <p:nvPr/>
          </p:nvSpPr>
          <p:spPr>
            <a:xfrm>
              <a:off x="5496559" y="1760636"/>
              <a:ext cx="1198881" cy="1198881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62">
              <a:extLst>
                <a:ext uri="{FF2B5EF4-FFF2-40B4-BE49-F238E27FC236}">
                  <a16:creationId xmlns:a16="http://schemas.microsoft.com/office/drawing/2014/main" xmlns="" id="{AECE959F-53C6-41DC-809D-C10D48F3DBE5}"/>
                </a:ext>
              </a:extLst>
            </p:cNvPr>
            <p:cNvSpPr/>
            <p:nvPr/>
          </p:nvSpPr>
          <p:spPr>
            <a:xfrm>
              <a:off x="5673447" y="1975355"/>
              <a:ext cx="845103" cy="76944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4400" b="1" dirty="0" smtClean="0">
                  <a:solidFill>
                    <a:schemeClr val="bg1"/>
                  </a:solidFill>
                  <a:latin typeface="Trebuchet MS" panose="020B0603020202020204" pitchFamily="34" charset="0"/>
                </a:rPr>
                <a:t>06</a:t>
              </a:r>
              <a:endParaRPr lang="en-US" sz="4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5" name="Прямоугольник 4"/>
          <p:cNvSpPr/>
          <p:nvPr/>
        </p:nvSpPr>
        <p:spPr>
          <a:xfrm>
            <a:off x="493707" y="1464874"/>
            <a:ext cx="5526860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accent6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Суммарные годовые затраты </a:t>
            </a:r>
            <a:r>
              <a:rPr lang="ru-RU" dirty="0" smtClean="0">
                <a:solidFill>
                  <a:schemeClr val="accent6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респондентов на предоставление разных видов отчетности - </a:t>
            </a:r>
            <a:r>
              <a:rPr lang="ru-RU" dirty="0">
                <a:solidFill>
                  <a:schemeClr val="accent6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/>
            </a:r>
            <a:br>
              <a:rPr lang="ru-RU" dirty="0">
                <a:solidFill>
                  <a:schemeClr val="accent6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</a:br>
            <a:r>
              <a:rPr lang="ru-RU" dirty="0" smtClean="0">
                <a:solidFill>
                  <a:schemeClr val="accent6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от 100 млрд </a:t>
            </a:r>
            <a:r>
              <a:rPr lang="ru-RU" dirty="0">
                <a:solidFill>
                  <a:schemeClr val="accent6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до 1,5 </a:t>
            </a:r>
            <a:r>
              <a:rPr lang="ru-RU" dirty="0" smtClean="0">
                <a:solidFill>
                  <a:schemeClr val="accent6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трлн рублей </a:t>
            </a:r>
          </a:p>
          <a:p>
            <a:endParaRPr lang="ru-RU" dirty="0">
              <a:latin typeface="+mj-lt"/>
              <a:cs typeface="Arial" panose="020B0604020202020204" pitchFamily="34" charset="0"/>
            </a:endParaRPr>
          </a:p>
          <a:p>
            <a:r>
              <a:rPr lang="ru-RU" dirty="0" smtClean="0">
                <a:solidFill>
                  <a:schemeClr val="accent2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Объективная </a:t>
            </a:r>
            <a:r>
              <a:rPr lang="ru-RU" dirty="0">
                <a:solidFill>
                  <a:schemeClr val="accent2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картина годовой отчетной нагрузки на </a:t>
            </a:r>
            <a:r>
              <a:rPr lang="ru-RU" dirty="0" smtClean="0">
                <a:solidFill>
                  <a:schemeClr val="accent2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субъекты </a:t>
            </a:r>
            <a:r>
              <a:rPr lang="ru-RU" dirty="0">
                <a:solidFill>
                  <a:schemeClr val="accent2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малого предпринимательства </a:t>
            </a:r>
            <a:r>
              <a:rPr lang="ru-RU" dirty="0" smtClean="0">
                <a:solidFill>
                  <a:schemeClr val="accent2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отсутствует </a:t>
            </a:r>
          </a:p>
          <a:p>
            <a:endParaRPr lang="ru-RU" dirty="0">
              <a:latin typeface="+mj-lt"/>
              <a:cs typeface="Arial" panose="020B0604020202020204" pitchFamily="34" charset="0"/>
            </a:endParaRPr>
          </a:p>
          <a:p>
            <a:endParaRPr lang="ru-RU" dirty="0" smtClean="0">
              <a:solidFill>
                <a:schemeClr val="accent1">
                  <a:lumMod val="7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endParaRPr lang="ru-RU" dirty="0">
              <a:solidFill>
                <a:schemeClr val="accent1">
                  <a:lumMod val="7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lvl="1"/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В 2021 году будет проведена инвентаризация 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форм </a:t>
            </a: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и 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видов отчетности, предоставляемых юридическими лицами и индивидуальными </a:t>
            </a: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предпринимателями</a:t>
            </a:r>
            <a:endParaRPr lang="ru-RU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7173320" y="1557208"/>
            <a:ext cx="4474895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Реализуется </a:t>
            </a:r>
            <a:r>
              <a:rPr lang="ru-RU" sz="160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во исполнение поручения Президента Российской Федерации от 12 ноября 2018 г. </a:t>
            </a:r>
            <a:r>
              <a:rPr lang="ru-RU" sz="1600" dirty="0" smtClean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№ Пр-2094 и поручения Первого заместителя Председателя Правительства РФ </a:t>
            </a:r>
            <a:r>
              <a:rPr lang="ru-RU" sz="1600" dirty="0" err="1" smtClean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А.Р.Белоусова</a:t>
            </a:r>
            <a:r>
              <a:rPr lang="ru-RU" sz="1600" dirty="0" smtClean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: провести инвентаризацию форм и видов отчетности</a:t>
            </a:r>
            <a:endParaRPr lang="ru-RU" sz="1600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>
            <a:off x="6149947" y="1041674"/>
            <a:ext cx="0" cy="547397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AutoShape 113">
            <a:extLst>
              <a:ext uri="{FF2B5EF4-FFF2-40B4-BE49-F238E27FC236}">
                <a16:creationId xmlns:a16="http://schemas.microsoft.com/office/drawing/2014/main" xmlns="" id="{D076D048-7BBD-41E6-9C21-183597B1D8DF}"/>
              </a:ext>
            </a:extLst>
          </p:cNvPr>
          <p:cNvSpPr>
            <a:spLocks/>
          </p:cNvSpPr>
          <p:nvPr/>
        </p:nvSpPr>
        <p:spPr bwMode="auto">
          <a:xfrm>
            <a:off x="6731560" y="1635424"/>
            <a:ext cx="271352" cy="395553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15386" y="14175"/>
                </a:moveTo>
                <a:lnTo>
                  <a:pt x="6223" y="14175"/>
                </a:lnTo>
                <a:cubicBezTo>
                  <a:pt x="5734" y="13446"/>
                  <a:pt x="5147" y="12716"/>
                  <a:pt x="4568" y="12003"/>
                </a:cubicBezTo>
                <a:cubicBezTo>
                  <a:pt x="3287" y="10427"/>
                  <a:pt x="1963" y="8797"/>
                  <a:pt x="1963" y="7425"/>
                </a:cubicBezTo>
                <a:cubicBezTo>
                  <a:pt x="1963" y="4075"/>
                  <a:pt x="5927" y="1350"/>
                  <a:pt x="10800" y="1350"/>
                </a:cubicBezTo>
                <a:cubicBezTo>
                  <a:pt x="15672" y="1350"/>
                  <a:pt x="19636" y="4075"/>
                  <a:pt x="19636" y="7425"/>
                </a:cubicBezTo>
                <a:cubicBezTo>
                  <a:pt x="19636" y="8787"/>
                  <a:pt x="18312" y="10425"/>
                  <a:pt x="17029" y="12011"/>
                </a:cubicBezTo>
                <a:cubicBezTo>
                  <a:pt x="16455" y="12723"/>
                  <a:pt x="15873" y="13449"/>
                  <a:pt x="15386" y="14175"/>
                </a:cubicBezTo>
                <a:moveTo>
                  <a:pt x="10800" y="20249"/>
                </a:moveTo>
                <a:cubicBezTo>
                  <a:pt x="9805" y="20249"/>
                  <a:pt x="9347" y="20171"/>
                  <a:pt x="8839" y="19406"/>
                </a:cubicBezTo>
                <a:lnTo>
                  <a:pt x="13000" y="19048"/>
                </a:lnTo>
                <a:cubicBezTo>
                  <a:pt x="12398" y="20164"/>
                  <a:pt x="11959" y="20249"/>
                  <a:pt x="10800" y="20249"/>
                </a:cubicBezTo>
                <a:moveTo>
                  <a:pt x="7595" y="16813"/>
                </a:moveTo>
                <a:cubicBezTo>
                  <a:pt x="7417" y="16407"/>
                  <a:pt x="7215" y="15978"/>
                  <a:pt x="6991" y="15525"/>
                </a:cubicBezTo>
                <a:lnTo>
                  <a:pt x="14616" y="15525"/>
                </a:lnTo>
                <a:cubicBezTo>
                  <a:pt x="14496" y="15767"/>
                  <a:pt x="14375" y="16010"/>
                  <a:pt x="14270" y="16239"/>
                </a:cubicBezTo>
                <a:cubicBezTo>
                  <a:pt x="14270" y="16239"/>
                  <a:pt x="7595" y="16813"/>
                  <a:pt x="7595" y="16813"/>
                </a:cubicBezTo>
                <a:close/>
                <a:moveTo>
                  <a:pt x="13345" y="18343"/>
                </a:moveTo>
                <a:lnTo>
                  <a:pt x="8476" y="18762"/>
                </a:lnTo>
                <a:cubicBezTo>
                  <a:pt x="8303" y="18416"/>
                  <a:pt x="8116" y="18011"/>
                  <a:pt x="7890" y="17483"/>
                </a:cubicBezTo>
                <a:cubicBezTo>
                  <a:pt x="7887" y="17477"/>
                  <a:pt x="7883" y="17469"/>
                  <a:pt x="7881" y="17462"/>
                </a:cubicBezTo>
                <a:lnTo>
                  <a:pt x="13957" y="16941"/>
                </a:lnTo>
                <a:cubicBezTo>
                  <a:pt x="13871" y="17140"/>
                  <a:pt x="13778" y="17350"/>
                  <a:pt x="13698" y="17537"/>
                </a:cubicBezTo>
                <a:cubicBezTo>
                  <a:pt x="13569" y="17841"/>
                  <a:pt x="13453" y="18104"/>
                  <a:pt x="13345" y="18343"/>
                </a:cubicBezTo>
                <a:moveTo>
                  <a:pt x="10800" y="0"/>
                </a:moveTo>
                <a:cubicBezTo>
                  <a:pt x="4835" y="0"/>
                  <a:pt x="0" y="3324"/>
                  <a:pt x="0" y="7425"/>
                </a:cubicBezTo>
                <a:cubicBezTo>
                  <a:pt x="0" y="10146"/>
                  <a:pt x="3621" y="13029"/>
                  <a:pt x="4939" y="15562"/>
                </a:cubicBezTo>
                <a:cubicBezTo>
                  <a:pt x="6906" y="19339"/>
                  <a:pt x="6688" y="21599"/>
                  <a:pt x="10800" y="21599"/>
                </a:cubicBezTo>
                <a:cubicBezTo>
                  <a:pt x="14972" y="21599"/>
                  <a:pt x="14692" y="19349"/>
                  <a:pt x="16660" y="15577"/>
                </a:cubicBezTo>
                <a:cubicBezTo>
                  <a:pt x="17983" y="13039"/>
                  <a:pt x="21600" y="10124"/>
                  <a:pt x="21600" y="7425"/>
                </a:cubicBezTo>
                <a:cubicBezTo>
                  <a:pt x="21600" y="3324"/>
                  <a:pt x="16764" y="0"/>
                  <a:pt x="10800" y="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19045" tIns="19045" rIns="19045" bIns="19045" anchor="ctr"/>
          <a:lstStyle/>
          <a:p>
            <a:pPr algn="ctr" defTabSz="228543" fontAlgn="base" hangingPunct="0">
              <a:spcBef>
                <a:spcPct val="0"/>
              </a:spcBef>
              <a:spcAft>
                <a:spcPct val="0"/>
              </a:spcAft>
            </a:pPr>
            <a:endParaRPr lang="en-US" sz="15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Gill Sans" charset="0"/>
              <a:sym typeface="Gill Sans" charset="0"/>
            </a:endParaRPr>
          </a:p>
        </p:txBody>
      </p:sp>
      <p:sp>
        <p:nvSpPr>
          <p:cNvPr id="20" name="Text Placeholder 213">
            <a:extLst>
              <a:ext uri="{FF2B5EF4-FFF2-40B4-BE49-F238E27FC236}">
                <a16:creationId xmlns:a16="http://schemas.microsoft.com/office/drawing/2014/main" xmlns="" id="{61D46C66-F12E-45D0-9033-7578FD4C8872}"/>
              </a:ext>
            </a:extLst>
          </p:cNvPr>
          <p:cNvSpPr txBox="1">
            <a:spLocks/>
          </p:cNvSpPr>
          <p:nvPr/>
        </p:nvSpPr>
        <p:spPr>
          <a:xfrm>
            <a:off x="1455568" y="954737"/>
            <a:ext cx="3957517" cy="57454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800" dirty="0" smtClean="0"/>
              <a:t>Проблема:</a:t>
            </a:r>
            <a:endParaRPr lang="en-US" sz="2800" dirty="0"/>
          </a:p>
        </p:txBody>
      </p:sp>
      <p:sp>
        <p:nvSpPr>
          <p:cNvPr id="21" name="Text Placeholder 213">
            <a:extLst>
              <a:ext uri="{FF2B5EF4-FFF2-40B4-BE49-F238E27FC236}">
                <a16:creationId xmlns:a16="http://schemas.microsoft.com/office/drawing/2014/main" xmlns="" id="{61D46C66-F12E-45D0-9033-7578FD4C8872}"/>
              </a:ext>
            </a:extLst>
          </p:cNvPr>
          <p:cNvSpPr txBox="1">
            <a:spLocks/>
          </p:cNvSpPr>
          <p:nvPr/>
        </p:nvSpPr>
        <p:spPr>
          <a:xfrm>
            <a:off x="6568898" y="982667"/>
            <a:ext cx="3957517" cy="57454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800" dirty="0" smtClean="0"/>
              <a:t>Основание:</a:t>
            </a:r>
            <a:endParaRPr lang="en-US" sz="2800" dirty="0"/>
          </a:p>
        </p:txBody>
      </p:sp>
      <p:sp>
        <p:nvSpPr>
          <p:cNvPr id="22" name="Text Placeholder 213">
            <a:extLst>
              <a:ext uri="{FF2B5EF4-FFF2-40B4-BE49-F238E27FC236}">
                <a16:creationId xmlns:a16="http://schemas.microsoft.com/office/drawing/2014/main" xmlns="" id="{61D46C66-F12E-45D0-9033-7578FD4C8872}"/>
              </a:ext>
            </a:extLst>
          </p:cNvPr>
          <p:cNvSpPr txBox="1">
            <a:spLocks/>
          </p:cNvSpPr>
          <p:nvPr/>
        </p:nvSpPr>
        <p:spPr>
          <a:xfrm>
            <a:off x="6568898" y="4858441"/>
            <a:ext cx="5010805" cy="57454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800" dirty="0" smtClean="0"/>
              <a:t>Результат в 2025 году:</a:t>
            </a:r>
            <a:endParaRPr lang="en-US" sz="28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6963403" y="5301107"/>
            <a:ext cx="482824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ru-RU" sz="2000" dirty="0">
                <a:latin typeface="+mj-lt"/>
              </a:rPr>
              <a:t>Нет дублирующих показателей в </a:t>
            </a:r>
            <a:r>
              <a:rPr lang="ru-RU" sz="2000" dirty="0" err="1" smtClean="0">
                <a:latin typeface="+mj-lt"/>
              </a:rPr>
              <a:t>статотчетности</a:t>
            </a:r>
            <a:endParaRPr lang="ru-RU" sz="2000" dirty="0">
              <a:latin typeface="+mj-lt"/>
            </a:endParaRPr>
          </a:p>
          <a:p>
            <a:pPr marL="457200" indent="-457200">
              <a:buFont typeface="+mj-lt"/>
              <a:buAutoNum type="arabicPeriod"/>
            </a:pPr>
            <a:r>
              <a:rPr lang="ru-RU" sz="2000" dirty="0" smtClean="0">
                <a:latin typeface="+mj-lt"/>
              </a:rPr>
              <a:t>Затраты </a:t>
            </a:r>
            <a:r>
              <a:rPr lang="ru-RU" sz="2000" dirty="0">
                <a:latin typeface="+mj-lt"/>
              </a:rPr>
              <a:t>бизнеса на </a:t>
            </a:r>
            <a:r>
              <a:rPr lang="ru-RU" sz="2000" dirty="0" err="1" smtClean="0">
                <a:latin typeface="+mj-lt"/>
              </a:rPr>
              <a:t>статотчетность</a:t>
            </a:r>
            <a:r>
              <a:rPr lang="ru-RU" sz="2000" dirty="0" smtClean="0">
                <a:latin typeface="+mj-lt"/>
              </a:rPr>
              <a:t> </a:t>
            </a:r>
            <a:r>
              <a:rPr lang="ru-RU" sz="2000" dirty="0">
                <a:latin typeface="+mj-lt"/>
              </a:rPr>
              <a:t>меньше в 2 раза</a:t>
            </a:r>
          </a:p>
        </p:txBody>
      </p:sp>
      <p:sp>
        <p:nvSpPr>
          <p:cNvPr id="23" name="Text Placeholder 213">
            <a:extLst>
              <a:ext uri="{FF2B5EF4-FFF2-40B4-BE49-F238E27FC236}">
                <a16:creationId xmlns:a16="http://schemas.microsoft.com/office/drawing/2014/main" xmlns="" id="{61D46C66-F12E-45D0-9033-7578FD4C8872}"/>
              </a:ext>
            </a:extLst>
          </p:cNvPr>
          <p:cNvSpPr txBox="1">
            <a:spLocks/>
          </p:cNvSpPr>
          <p:nvPr/>
        </p:nvSpPr>
        <p:spPr>
          <a:xfrm>
            <a:off x="493707" y="3268545"/>
            <a:ext cx="5186902" cy="57454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dirty="0" smtClean="0"/>
              <a:t>Инвентаризация: начало сокращения </a:t>
            </a:r>
            <a:r>
              <a:rPr lang="ru-RU" sz="2000" dirty="0" err="1" smtClean="0"/>
              <a:t>статотчетности</a:t>
            </a:r>
            <a:endParaRPr lang="en-US" sz="2000" dirty="0"/>
          </a:p>
        </p:txBody>
      </p:sp>
      <p:sp>
        <p:nvSpPr>
          <p:cNvPr id="28" name="Text Placeholder 213">
            <a:extLst>
              <a:ext uri="{FF2B5EF4-FFF2-40B4-BE49-F238E27FC236}">
                <a16:creationId xmlns:a16="http://schemas.microsoft.com/office/drawing/2014/main" xmlns="" id="{61D46C66-F12E-45D0-9033-7578FD4C8872}"/>
              </a:ext>
            </a:extLst>
          </p:cNvPr>
          <p:cNvSpPr txBox="1">
            <a:spLocks/>
          </p:cNvSpPr>
          <p:nvPr/>
        </p:nvSpPr>
        <p:spPr>
          <a:xfrm>
            <a:off x="986066" y="5549869"/>
            <a:ext cx="5186902" cy="1297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800" dirty="0">
                <a:solidFill>
                  <a:schemeClr val="accent1">
                    <a:lumMod val="75000"/>
                  </a:schemeClr>
                </a:solidFill>
              </a:rPr>
              <a:t>Единое окно приема </a:t>
            </a:r>
            <a:r>
              <a:rPr lang="ru-RU" sz="1800" dirty="0" err="1" smtClean="0">
                <a:solidFill>
                  <a:schemeClr val="accent1">
                    <a:lumMod val="75000"/>
                  </a:schemeClr>
                </a:solidFill>
              </a:rPr>
              <a:t>статотчетности</a:t>
            </a:r>
            <a:endParaRPr lang="ru-RU" sz="1800" dirty="0" smtClean="0">
              <a:solidFill>
                <a:schemeClr val="accent1">
                  <a:lumMod val="75000"/>
                </a:schemeClr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800" dirty="0" smtClean="0">
                <a:solidFill>
                  <a:schemeClr val="accent1">
                    <a:lumMod val="75000"/>
                  </a:schemeClr>
                </a:solidFill>
              </a:rPr>
              <a:t>Личные </a:t>
            </a:r>
            <a:r>
              <a:rPr lang="ru-RU" sz="1800" dirty="0">
                <a:solidFill>
                  <a:schemeClr val="accent1">
                    <a:lumMod val="75000"/>
                  </a:schemeClr>
                </a:solidFill>
              </a:rPr>
              <a:t>кабинеты с </a:t>
            </a:r>
            <a:r>
              <a:rPr lang="ru-RU" sz="1800" dirty="0" err="1" smtClean="0">
                <a:solidFill>
                  <a:schemeClr val="accent1">
                    <a:lumMod val="75000"/>
                  </a:schemeClr>
                </a:solidFill>
              </a:rPr>
              <a:t>предзаполнением</a:t>
            </a:r>
            <a:endParaRPr lang="ru-RU" sz="1800" dirty="0" smtClean="0">
              <a:solidFill>
                <a:schemeClr val="accent1">
                  <a:lumMod val="75000"/>
                </a:schemeClr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800" dirty="0">
                <a:solidFill>
                  <a:schemeClr val="accent1">
                    <a:lumMod val="75000"/>
                  </a:schemeClr>
                </a:solidFill>
              </a:rPr>
              <a:t>Потоковый сбор </a:t>
            </a:r>
            <a:r>
              <a:rPr lang="ru-RU" sz="1800" dirty="0" smtClean="0">
                <a:solidFill>
                  <a:schemeClr val="accent1">
                    <a:lumMod val="75000"/>
                  </a:schemeClr>
                </a:solidFill>
              </a:rPr>
              <a:t>данных с предприятий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18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9" name="Text Placeholder 213">
            <a:extLst>
              <a:ext uri="{FF2B5EF4-FFF2-40B4-BE49-F238E27FC236}">
                <a16:creationId xmlns:a16="http://schemas.microsoft.com/office/drawing/2014/main" xmlns="" id="{61D46C66-F12E-45D0-9033-7578FD4C8872}"/>
              </a:ext>
            </a:extLst>
          </p:cNvPr>
          <p:cNvSpPr txBox="1">
            <a:spLocks/>
          </p:cNvSpPr>
          <p:nvPr/>
        </p:nvSpPr>
        <p:spPr>
          <a:xfrm>
            <a:off x="500451" y="5158193"/>
            <a:ext cx="5186902" cy="57454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dirty="0" smtClean="0"/>
              <a:t>Следующие этапы:</a:t>
            </a:r>
            <a:endParaRPr lang="en-US" sz="2000" dirty="0"/>
          </a:p>
        </p:txBody>
      </p:sp>
      <p:sp>
        <p:nvSpPr>
          <p:cNvPr id="30" name="Text Placeholder 213">
            <a:extLst>
              <a:ext uri="{FF2B5EF4-FFF2-40B4-BE49-F238E27FC236}">
                <a16:creationId xmlns:a16="http://schemas.microsoft.com/office/drawing/2014/main" xmlns="" id="{61D46C66-F12E-45D0-9033-7578FD4C8872}"/>
              </a:ext>
            </a:extLst>
          </p:cNvPr>
          <p:cNvSpPr txBox="1">
            <a:spLocks/>
          </p:cNvSpPr>
          <p:nvPr/>
        </p:nvSpPr>
        <p:spPr>
          <a:xfrm>
            <a:off x="6568897" y="3368198"/>
            <a:ext cx="5010805" cy="57454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dirty="0" smtClean="0"/>
              <a:t>Высшим должностным лицам субъектов РФ</a:t>
            </a:r>
            <a:endParaRPr lang="en-US" sz="2000" dirty="0"/>
          </a:p>
        </p:txBody>
      </p:sp>
      <p:sp>
        <p:nvSpPr>
          <p:cNvPr id="31" name="Прямоугольник 30"/>
          <p:cNvSpPr/>
          <p:nvPr/>
        </p:nvSpPr>
        <p:spPr>
          <a:xfrm>
            <a:off x="7222995" y="3778662"/>
            <a:ext cx="4474895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solidFill>
                  <a:srgbClr val="C00000"/>
                </a:solidFill>
                <a:latin typeface="+mj-lt"/>
                <a:cs typeface="Arial" panose="020B0604020202020204" pitchFamily="34" charset="0"/>
              </a:rPr>
              <a:t>Рекомендовать представить в Росстат сведения о формах и видах отчетности, предоставляемой в органы исполнительной власти и местного самоуправления</a:t>
            </a:r>
            <a:endParaRPr lang="ru-RU" sz="1600" dirty="0">
              <a:solidFill>
                <a:srgbClr val="C0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17867485"/>
      </p:ext>
    </p:extLst>
  </p:cSld>
  <p:clrMapOvr>
    <a:masterClrMapping/>
  </p:clrMapOvr>
  <p:timing>
    <p:tnLst>
      <p:par>
        <p:cTn id="1" dur="indefinite" restart="never" nodeType="tmRoot"/>
      </p:par>
    </p:tnLst>
    <p:bldLst>
      <p:bldP spid="20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9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xmlns="" id="{61B867C1-6A35-4CD9-ABC6-A7E52C4F8741}"/>
              </a:ext>
            </a:extLst>
          </p:cNvPr>
          <p:cNvGrpSpPr/>
          <p:nvPr/>
        </p:nvGrpSpPr>
        <p:grpSpPr>
          <a:xfrm>
            <a:off x="163435" y="3769492"/>
            <a:ext cx="5241819" cy="2844582"/>
            <a:chOff x="315835" y="3769492"/>
            <a:chExt cx="5241819" cy="2844582"/>
          </a:xfrm>
        </p:grpSpPr>
        <p:sp>
          <p:nvSpPr>
            <p:cNvPr id="35901" name="Freeform 91"/>
            <p:cNvSpPr>
              <a:spLocks/>
            </p:cNvSpPr>
            <p:nvPr/>
          </p:nvSpPr>
          <p:spPr bwMode="auto">
            <a:xfrm>
              <a:off x="315835" y="4444723"/>
              <a:ext cx="5240654" cy="2169351"/>
            </a:xfrm>
            <a:custGeom>
              <a:avLst/>
              <a:gdLst>
                <a:gd name="T0" fmla="*/ 0 w 10325"/>
                <a:gd name="T1" fmla="*/ 2237 h 4274"/>
                <a:gd name="T2" fmla="*/ 5822 w 10325"/>
                <a:gd name="T3" fmla="*/ 4274 h 4274"/>
                <a:gd name="T4" fmla="*/ 10325 w 10325"/>
                <a:gd name="T5" fmla="*/ 1147 h 4274"/>
                <a:gd name="T6" fmla="*/ 4848 w 10325"/>
                <a:gd name="T7" fmla="*/ 0 h 4274"/>
                <a:gd name="T8" fmla="*/ 0 w 10325"/>
                <a:gd name="T9" fmla="*/ 2237 h 4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25" h="4274">
                  <a:moveTo>
                    <a:pt x="0" y="2237"/>
                  </a:moveTo>
                  <a:lnTo>
                    <a:pt x="5822" y="4274"/>
                  </a:lnTo>
                  <a:lnTo>
                    <a:pt x="10325" y="1147"/>
                  </a:lnTo>
                  <a:lnTo>
                    <a:pt x="4848" y="0"/>
                  </a:lnTo>
                  <a:lnTo>
                    <a:pt x="0" y="2237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02" name="Freeform 92"/>
            <p:cNvSpPr>
              <a:spLocks/>
            </p:cNvSpPr>
            <p:nvPr/>
          </p:nvSpPr>
          <p:spPr bwMode="auto">
            <a:xfrm>
              <a:off x="315835" y="4444723"/>
              <a:ext cx="5240654" cy="2169351"/>
            </a:xfrm>
            <a:custGeom>
              <a:avLst/>
              <a:gdLst>
                <a:gd name="T0" fmla="*/ 0 w 10325"/>
                <a:gd name="T1" fmla="*/ 2237 h 4274"/>
                <a:gd name="T2" fmla="*/ 5822 w 10325"/>
                <a:gd name="T3" fmla="*/ 4274 h 4274"/>
                <a:gd name="T4" fmla="*/ 10325 w 10325"/>
                <a:gd name="T5" fmla="*/ 1147 h 4274"/>
                <a:gd name="T6" fmla="*/ 4848 w 10325"/>
                <a:gd name="T7" fmla="*/ 0 h 4274"/>
                <a:gd name="T8" fmla="*/ 0 w 10325"/>
                <a:gd name="T9" fmla="*/ 2237 h 4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25" h="4274">
                  <a:moveTo>
                    <a:pt x="0" y="2237"/>
                  </a:moveTo>
                  <a:lnTo>
                    <a:pt x="5822" y="4274"/>
                  </a:lnTo>
                  <a:lnTo>
                    <a:pt x="10325" y="1147"/>
                  </a:lnTo>
                  <a:lnTo>
                    <a:pt x="4848" y="0"/>
                  </a:lnTo>
                  <a:lnTo>
                    <a:pt x="0" y="223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05" name="Freeform 95"/>
            <p:cNvSpPr>
              <a:spLocks/>
            </p:cNvSpPr>
            <p:nvPr/>
          </p:nvSpPr>
          <p:spPr bwMode="auto">
            <a:xfrm>
              <a:off x="315835" y="3770671"/>
              <a:ext cx="2497749" cy="1809484"/>
            </a:xfrm>
            <a:custGeom>
              <a:avLst/>
              <a:gdLst>
                <a:gd name="T0" fmla="*/ 4921 w 4921"/>
                <a:gd name="T1" fmla="*/ 0 h 3565"/>
                <a:gd name="T2" fmla="*/ 1491 w 4921"/>
                <a:gd name="T3" fmla="*/ 1387 h 3565"/>
                <a:gd name="T4" fmla="*/ 0 w 4921"/>
                <a:gd name="T5" fmla="*/ 3565 h 3565"/>
                <a:gd name="T6" fmla="*/ 4848 w 4921"/>
                <a:gd name="T7" fmla="*/ 1328 h 3565"/>
                <a:gd name="T8" fmla="*/ 4921 w 4921"/>
                <a:gd name="T9" fmla="*/ 0 h 3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21" h="3565">
                  <a:moveTo>
                    <a:pt x="4921" y="0"/>
                  </a:moveTo>
                  <a:lnTo>
                    <a:pt x="1491" y="1387"/>
                  </a:lnTo>
                  <a:lnTo>
                    <a:pt x="0" y="3565"/>
                  </a:lnTo>
                  <a:lnTo>
                    <a:pt x="4848" y="1328"/>
                  </a:lnTo>
                  <a:lnTo>
                    <a:pt x="4921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06" name="Freeform 96"/>
            <p:cNvSpPr>
              <a:spLocks/>
            </p:cNvSpPr>
            <p:nvPr/>
          </p:nvSpPr>
          <p:spPr bwMode="auto">
            <a:xfrm>
              <a:off x="315835" y="3770671"/>
              <a:ext cx="2497749" cy="1809484"/>
            </a:xfrm>
            <a:custGeom>
              <a:avLst/>
              <a:gdLst>
                <a:gd name="T0" fmla="*/ 4921 w 4921"/>
                <a:gd name="T1" fmla="*/ 0 h 3565"/>
                <a:gd name="T2" fmla="*/ 1491 w 4921"/>
                <a:gd name="T3" fmla="*/ 1387 h 3565"/>
                <a:gd name="T4" fmla="*/ 0 w 4921"/>
                <a:gd name="T5" fmla="*/ 3565 h 3565"/>
                <a:gd name="T6" fmla="*/ 4848 w 4921"/>
                <a:gd name="T7" fmla="*/ 1328 h 3565"/>
                <a:gd name="T8" fmla="*/ 4921 w 4921"/>
                <a:gd name="T9" fmla="*/ 0 h 3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21" h="3565">
                  <a:moveTo>
                    <a:pt x="4921" y="0"/>
                  </a:moveTo>
                  <a:lnTo>
                    <a:pt x="1491" y="1387"/>
                  </a:lnTo>
                  <a:lnTo>
                    <a:pt x="0" y="3565"/>
                  </a:lnTo>
                  <a:lnTo>
                    <a:pt x="4848" y="1328"/>
                  </a:lnTo>
                  <a:lnTo>
                    <a:pt x="492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09" name="Freeform 99"/>
            <p:cNvSpPr>
              <a:spLocks/>
            </p:cNvSpPr>
            <p:nvPr/>
          </p:nvSpPr>
          <p:spPr bwMode="auto">
            <a:xfrm>
              <a:off x="2776531" y="3770671"/>
              <a:ext cx="2779958" cy="1256234"/>
            </a:xfrm>
            <a:custGeom>
              <a:avLst/>
              <a:gdLst>
                <a:gd name="T0" fmla="*/ 73 w 5477"/>
                <a:gd name="T1" fmla="*/ 0 h 2475"/>
                <a:gd name="T2" fmla="*/ 73 w 5477"/>
                <a:gd name="T3" fmla="*/ 0 h 2475"/>
                <a:gd name="T4" fmla="*/ 0 w 5477"/>
                <a:gd name="T5" fmla="*/ 1328 h 2475"/>
                <a:gd name="T6" fmla="*/ 5477 w 5477"/>
                <a:gd name="T7" fmla="*/ 2475 h 2475"/>
                <a:gd name="T8" fmla="*/ 4080 w 5477"/>
                <a:gd name="T9" fmla="*/ 744 h 2475"/>
                <a:gd name="T10" fmla="*/ 73 w 5477"/>
                <a:gd name="T11" fmla="*/ 0 h 2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477" h="2475">
                  <a:moveTo>
                    <a:pt x="73" y="0"/>
                  </a:moveTo>
                  <a:lnTo>
                    <a:pt x="73" y="0"/>
                  </a:lnTo>
                  <a:lnTo>
                    <a:pt x="0" y="1328"/>
                  </a:lnTo>
                  <a:lnTo>
                    <a:pt x="5477" y="2475"/>
                  </a:lnTo>
                  <a:lnTo>
                    <a:pt x="4080" y="744"/>
                  </a:lnTo>
                  <a:lnTo>
                    <a:pt x="73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10" name="Freeform 100"/>
            <p:cNvSpPr>
              <a:spLocks/>
            </p:cNvSpPr>
            <p:nvPr/>
          </p:nvSpPr>
          <p:spPr bwMode="auto">
            <a:xfrm>
              <a:off x="2776531" y="3770671"/>
              <a:ext cx="2779958" cy="1256234"/>
            </a:xfrm>
            <a:custGeom>
              <a:avLst/>
              <a:gdLst>
                <a:gd name="T0" fmla="*/ 73 w 5477"/>
                <a:gd name="T1" fmla="*/ 0 h 2475"/>
                <a:gd name="T2" fmla="*/ 73 w 5477"/>
                <a:gd name="T3" fmla="*/ 0 h 2475"/>
                <a:gd name="T4" fmla="*/ 0 w 5477"/>
                <a:gd name="T5" fmla="*/ 1328 h 2475"/>
                <a:gd name="T6" fmla="*/ 5477 w 5477"/>
                <a:gd name="T7" fmla="*/ 2475 h 2475"/>
                <a:gd name="T8" fmla="*/ 4080 w 5477"/>
                <a:gd name="T9" fmla="*/ 744 h 2475"/>
                <a:gd name="T10" fmla="*/ 73 w 5477"/>
                <a:gd name="T11" fmla="*/ 0 h 2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477" h="2475">
                  <a:moveTo>
                    <a:pt x="73" y="0"/>
                  </a:moveTo>
                  <a:lnTo>
                    <a:pt x="73" y="0"/>
                  </a:lnTo>
                  <a:lnTo>
                    <a:pt x="0" y="1328"/>
                  </a:lnTo>
                  <a:lnTo>
                    <a:pt x="5477" y="2475"/>
                  </a:lnTo>
                  <a:lnTo>
                    <a:pt x="4080" y="744"/>
                  </a:lnTo>
                  <a:lnTo>
                    <a:pt x="7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48" name="Freeform 38"/>
            <p:cNvSpPr>
              <a:spLocks noEditPoints="1"/>
            </p:cNvSpPr>
            <p:nvPr/>
          </p:nvSpPr>
          <p:spPr bwMode="auto">
            <a:xfrm>
              <a:off x="353801" y="3769492"/>
              <a:ext cx="2460696" cy="1792227"/>
            </a:xfrm>
            <a:custGeom>
              <a:avLst/>
              <a:gdLst>
                <a:gd name="T0" fmla="*/ 3312 w 4848"/>
                <a:gd name="T1" fmla="*/ 1981 h 3531"/>
                <a:gd name="T2" fmla="*/ 24 w 4848"/>
                <a:gd name="T3" fmla="*/ 3498 h 3531"/>
                <a:gd name="T4" fmla="*/ 0 w 4848"/>
                <a:gd name="T5" fmla="*/ 3531 h 3531"/>
                <a:gd name="T6" fmla="*/ 3340 w 4848"/>
                <a:gd name="T7" fmla="*/ 1990 h 3531"/>
                <a:gd name="T8" fmla="*/ 3312 w 4848"/>
                <a:gd name="T9" fmla="*/ 1981 h 3531"/>
                <a:gd name="T10" fmla="*/ 4848 w 4848"/>
                <a:gd name="T11" fmla="*/ 0 h 3531"/>
                <a:gd name="T12" fmla="*/ 1489 w 4848"/>
                <a:gd name="T13" fmla="*/ 1359 h 3531"/>
                <a:gd name="T14" fmla="*/ 1484 w 4848"/>
                <a:gd name="T15" fmla="*/ 1364 h 3531"/>
                <a:gd name="T16" fmla="*/ 1513 w 4848"/>
                <a:gd name="T17" fmla="*/ 1373 h 3531"/>
                <a:gd name="T18" fmla="*/ 4827 w 4848"/>
                <a:gd name="T19" fmla="*/ 30 h 3531"/>
                <a:gd name="T20" fmla="*/ 4754 w 4848"/>
                <a:gd name="T21" fmla="*/ 1314 h 3531"/>
                <a:gd name="T22" fmla="*/ 3425 w 4848"/>
                <a:gd name="T23" fmla="*/ 1929 h 3531"/>
                <a:gd name="T24" fmla="*/ 3456 w 4848"/>
                <a:gd name="T25" fmla="*/ 1936 h 3531"/>
                <a:gd name="T26" fmla="*/ 4775 w 4848"/>
                <a:gd name="T27" fmla="*/ 1328 h 3531"/>
                <a:gd name="T28" fmla="*/ 4848 w 4848"/>
                <a:gd name="T29" fmla="*/ 0 h 3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848" h="3531">
                  <a:moveTo>
                    <a:pt x="3312" y="1981"/>
                  </a:moveTo>
                  <a:lnTo>
                    <a:pt x="24" y="3498"/>
                  </a:lnTo>
                  <a:lnTo>
                    <a:pt x="0" y="3531"/>
                  </a:lnTo>
                  <a:lnTo>
                    <a:pt x="3340" y="1990"/>
                  </a:lnTo>
                  <a:lnTo>
                    <a:pt x="3312" y="1981"/>
                  </a:lnTo>
                  <a:close/>
                  <a:moveTo>
                    <a:pt x="4848" y="0"/>
                  </a:moveTo>
                  <a:lnTo>
                    <a:pt x="1489" y="1359"/>
                  </a:lnTo>
                  <a:lnTo>
                    <a:pt x="1484" y="1364"/>
                  </a:lnTo>
                  <a:lnTo>
                    <a:pt x="1513" y="1373"/>
                  </a:lnTo>
                  <a:lnTo>
                    <a:pt x="4827" y="30"/>
                  </a:lnTo>
                  <a:lnTo>
                    <a:pt x="4754" y="1314"/>
                  </a:lnTo>
                  <a:lnTo>
                    <a:pt x="3425" y="1929"/>
                  </a:lnTo>
                  <a:lnTo>
                    <a:pt x="3456" y="1936"/>
                  </a:lnTo>
                  <a:lnTo>
                    <a:pt x="4775" y="1328"/>
                  </a:lnTo>
                  <a:lnTo>
                    <a:pt x="484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49" name="Freeform 39"/>
            <p:cNvSpPr>
              <a:spLocks noEditPoints="1"/>
            </p:cNvSpPr>
            <p:nvPr/>
          </p:nvSpPr>
          <p:spPr bwMode="auto">
            <a:xfrm>
              <a:off x="353801" y="3769492"/>
              <a:ext cx="2460696" cy="1792227"/>
            </a:xfrm>
            <a:custGeom>
              <a:avLst/>
              <a:gdLst>
                <a:gd name="T0" fmla="*/ 3312 w 4848"/>
                <a:gd name="T1" fmla="*/ 1981 h 3531"/>
                <a:gd name="T2" fmla="*/ 24 w 4848"/>
                <a:gd name="T3" fmla="*/ 3498 h 3531"/>
                <a:gd name="T4" fmla="*/ 0 w 4848"/>
                <a:gd name="T5" fmla="*/ 3531 h 3531"/>
                <a:gd name="T6" fmla="*/ 3340 w 4848"/>
                <a:gd name="T7" fmla="*/ 1990 h 3531"/>
                <a:gd name="T8" fmla="*/ 3312 w 4848"/>
                <a:gd name="T9" fmla="*/ 1981 h 3531"/>
                <a:gd name="T10" fmla="*/ 4848 w 4848"/>
                <a:gd name="T11" fmla="*/ 0 h 3531"/>
                <a:gd name="T12" fmla="*/ 1489 w 4848"/>
                <a:gd name="T13" fmla="*/ 1359 h 3531"/>
                <a:gd name="T14" fmla="*/ 1484 w 4848"/>
                <a:gd name="T15" fmla="*/ 1364 h 3531"/>
                <a:gd name="T16" fmla="*/ 1513 w 4848"/>
                <a:gd name="T17" fmla="*/ 1373 h 3531"/>
                <a:gd name="T18" fmla="*/ 4827 w 4848"/>
                <a:gd name="T19" fmla="*/ 30 h 3531"/>
                <a:gd name="T20" fmla="*/ 4754 w 4848"/>
                <a:gd name="T21" fmla="*/ 1314 h 3531"/>
                <a:gd name="T22" fmla="*/ 3425 w 4848"/>
                <a:gd name="T23" fmla="*/ 1929 h 3531"/>
                <a:gd name="T24" fmla="*/ 3456 w 4848"/>
                <a:gd name="T25" fmla="*/ 1936 h 3531"/>
                <a:gd name="T26" fmla="*/ 4775 w 4848"/>
                <a:gd name="T27" fmla="*/ 1328 h 3531"/>
                <a:gd name="T28" fmla="*/ 4848 w 4848"/>
                <a:gd name="T29" fmla="*/ 0 h 3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848" h="3531">
                  <a:moveTo>
                    <a:pt x="3312" y="1981"/>
                  </a:moveTo>
                  <a:lnTo>
                    <a:pt x="24" y="3498"/>
                  </a:lnTo>
                  <a:lnTo>
                    <a:pt x="0" y="3531"/>
                  </a:lnTo>
                  <a:lnTo>
                    <a:pt x="3340" y="1990"/>
                  </a:lnTo>
                  <a:lnTo>
                    <a:pt x="3312" y="1981"/>
                  </a:lnTo>
                  <a:moveTo>
                    <a:pt x="4848" y="0"/>
                  </a:moveTo>
                  <a:lnTo>
                    <a:pt x="1489" y="1359"/>
                  </a:lnTo>
                  <a:lnTo>
                    <a:pt x="1484" y="1364"/>
                  </a:lnTo>
                  <a:lnTo>
                    <a:pt x="1513" y="1373"/>
                  </a:lnTo>
                  <a:lnTo>
                    <a:pt x="4827" y="30"/>
                  </a:lnTo>
                  <a:lnTo>
                    <a:pt x="4754" y="1314"/>
                  </a:lnTo>
                  <a:lnTo>
                    <a:pt x="3425" y="1929"/>
                  </a:lnTo>
                  <a:lnTo>
                    <a:pt x="3456" y="1936"/>
                  </a:lnTo>
                  <a:lnTo>
                    <a:pt x="4775" y="1328"/>
                  </a:lnTo>
                  <a:lnTo>
                    <a:pt x="484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52" name="Freeform 42"/>
            <p:cNvSpPr>
              <a:spLocks noEditPoints="1"/>
            </p:cNvSpPr>
            <p:nvPr/>
          </p:nvSpPr>
          <p:spPr bwMode="auto">
            <a:xfrm>
              <a:off x="2777444" y="3769492"/>
              <a:ext cx="2747473" cy="1249128"/>
            </a:xfrm>
            <a:custGeom>
              <a:avLst/>
              <a:gdLst>
                <a:gd name="T0" fmla="*/ 2286 w 5413"/>
                <a:gd name="T1" fmla="*/ 1787 h 2461"/>
                <a:gd name="T2" fmla="*/ 2260 w 5413"/>
                <a:gd name="T3" fmla="*/ 1801 h 2461"/>
                <a:gd name="T4" fmla="*/ 5413 w 5413"/>
                <a:gd name="T5" fmla="*/ 2461 h 2461"/>
                <a:gd name="T6" fmla="*/ 5392 w 5413"/>
                <a:gd name="T7" fmla="*/ 2435 h 2461"/>
                <a:gd name="T8" fmla="*/ 2286 w 5413"/>
                <a:gd name="T9" fmla="*/ 1787 h 2461"/>
                <a:gd name="T10" fmla="*/ 723 w 5413"/>
                <a:gd name="T11" fmla="*/ 1458 h 2461"/>
                <a:gd name="T12" fmla="*/ 723 w 5413"/>
                <a:gd name="T13" fmla="*/ 1479 h 2461"/>
                <a:gd name="T14" fmla="*/ 2134 w 5413"/>
                <a:gd name="T15" fmla="*/ 1775 h 2461"/>
                <a:gd name="T16" fmla="*/ 2163 w 5413"/>
                <a:gd name="T17" fmla="*/ 1761 h 2461"/>
                <a:gd name="T18" fmla="*/ 723 w 5413"/>
                <a:gd name="T19" fmla="*/ 1458 h 2461"/>
                <a:gd name="T20" fmla="*/ 626 w 5413"/>
                <a:gd name="T21" fmla="*/ 101 h 2461"/>
                <a:gd name="T22" fmla="*/ 629 w 5413"/>
                <a:gd name="T23" fmla="*/ 123 h 2461"/>
                <a:gd name="T24" fmla="*/ 3988 w 5413"/>
                <a:gd name="T25" fmla="*/ 747 h 2461"/>
                <a:gd name="T26" fmla="*/ 4016 w 5413"/>
                <a:gd name="T27" fmla="*/ 732 h 2461"/>
                <a:gd name="T28" fmla="*/ 626 w 5413"/>
                <a:gd name="T29" fmla="*/ 101 h 2461"/>
                <a:gd name="T30" fmla="*/ 73 w 5413"/>
                <a:gd name="T31" fmla="*/ 0 h 2461"/>
                <a:gd name="T32" fmla="*/ 73 w 5413"/>
                <a:gd name="T33" fmla="*/ 0 h 2461"/>
                <a:gd name="T34" fmla="*/ 0 w 5413"/>
                <a:gd name="T35" fmla="*/ 1328 h 2461"/>
                <a:gd name="T36" fmla="*/ 640 w 5413"/>
                <a:gd name="T37" fmla="*/ 1463 h 2461"/>
                <a:gd name="T38" fmla="*/ 638 w 5413"/>
                <a:gd name="T39" fmla="*/ 1442 h 2461"/>
                <a:gd name="T40" fmla="*/ 21 w 5413"/>
                <a:gd name="T41" fmla="*/ 1312 h 2461"/>
                <a:gd name="T42" fmla="*/ 94 w 5413"/>
                <a:gd name="T43" fmla="*/ 23 h 2461"/>
                <a:gd name="T44" fmla="*/ 543 w 5413"/>
                <a:gd name="T45" fmla="*/ 108 h 2461"/>
                <a:gd name="T46" fmla="*/ 541 w 5413"/>
                <a:gd name="T47" fmla="*/ 87 h 2461"/>
                <a:gd name="T48" fmla="*/ 73 w 5413"/>
                <a:gd name="T49" fmla="*/ 0 h 24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413" h="2461">
                  <a:moveTo>
                    <a:pt x="2286" y="1787"/>
                  </a:moveTo>
                  <a:lnTo>
                    <a:pt x="2260" y="1801"/>
                  </a:lnTo>
                  <a:lnTo>
                    <a:pt x="5413" y="2461"/>
                  </a:lnTo>
                  <a:lnTo>
                    <a:pt x="5392" y="2435"/>
                  </a:lnTo>
                  <a:lnTo>
                    <a:pt x="2286" y="1787"/>
                  </a:lnTo>
                  <a:close/>
                  <a:moveTo>
                    <a:pt x="723" y="1458"/>
                  </a:moveTo>
                  <a:lnTo>
                    <a:pt x="723" y="1479"/>
                  </a:lnTo>
                  <a:lnTo>
                    <a:pt x="2134" y="1775"/>
                  </a:lnTo>
                  <a:lnTo>
                    <a:pt x="2163" y="1761"/>
                  </a:lnTo>
                  <a:lnTo>
                    <a:pt x="723" y="1458"/>
                  </a:lnTo>
                  <a:close/>
                  <a:moveTo>
                    <a:pt x="626" y="101"/>
                  </a:moveTo>
                  <a:lnTo>
                    <a:pt x="629" y="123"/>
                  </a:lnTo>
                  <a:lnTo>
                    <a:pt x="3988" y="747"/>
                  </a:lnTo>
                  <a:lnTo>
                    <a:pt x="4016" y="732"/>
                  </a:lnTo>
                  <a:lnTo>
                    <a:pt x="626" y="101"/>
                  </a:lnTo>
                  <a:close/>
                  <a:moveTo>
                    <a:pt x="73" y="0"/>
                  </a:moveTo>
                  <a:lnTo>
                    <a:pt x="73" y="0"/>
                  </a:lnTo>
                  <a:lnTo>
                    <a:pt x="0" y="1328"/>
                  </a:lnTo>
                  <a:lnTo>
                    <a:pt x="640" y="1463"/>
                  </a:lnTo>
                  <a:lnTo>
                    <a:pt x="638" y="1442"/>
                  </a:lnTo>
                  <a:lnTo>
                    <a:pt x="21" y="1312"/>
                  </a:lnTo>
                  <a:lnTo>
                    <a:pt x="94" y="23"/>
                  </a:lnTo>
                  <a:lnTo>
                    <a:pt x="543" y="108"/>
                  </a:lnTo>
                  <a:lnTo>
                    <a:pt x="541" y="87"/>
                  </a:lnTo>
                  <a:lnTo>
                    <a:pt x="7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53" name="Freeform 43"/>
            <p:cNvSpPr>
              <a:spLocks noEditPoints="1"/>
            </p:cNvSpPr>
            <p:nvPr/>
          </p:nvSpPr>
          <p:spPr bwMode="auto">
            <a:xfrm>
              <a:off x="2777444" y="3769492"/>
              <a:ext cx="2747473" cy="1249128"/>
            </a:xfrm>
            <a:custGeom>
              <a:avLst/>
              <a:gdLst>
                <a:gd name="T0" fmla="*/ 2286 w 5413"/>
                <a:gd name="T1" fmla="*/ 1787 h 2461"/>
                <a:gd name="T2" fmla="*/ 2260 w 5413"/>
                <a:gd name="T3" fmla="*/ 1801 h 2461"/>
                <a:gd name="T4" fmla="*/ 5413 w 5413"/>
                <a:gd name="T5" fmla="*/ 2461 h 2461"/>
                <a:gd name="T6" fmla="*/ 5392 w 5413"/>
                <a:gd name="T7" fmla="*/ 2435 h 2461"/>
                <a:gd name="T8" fmla="*/ 2286 w 5413"/>
                <a:gd name="T9" fmla="*/ 1787 h 2461"/>
                <a:gd name="T10" fmla="*/ 723 w 5413"/>
                <a:gd name="T11" fmla="*/ 1458 h 2461"/>
                <a:gd name="T12" fmla="*/ 723 w 5413"/>
                <a:gd name="T13" fmla="*/ 1479 h 2461"/>
                <a:gd name="T14" fmla="*/ 2134 w 5413"/>
                <a:gd name="T15" fmla="*/ 1775 h 2461"/>
                <a:gd name="T16" fmla="*/ 2163 w 5413"/>
                <a:gd name="T17" fmla="*/ 1761 h 2461"/>
                <a:gd name="T18" fmla="*/ 723 w 5413"/>
                <a:gd name="T19" fmla="*/ 1458 h 2461"/>
                <a:gd name="T20" fmla="*/ 626 w 5413"/>
                <a:gd name="T21" fmla="*/ 101 h 2461"/>
                <a:gd name="T22" fmla="*/ 629 w 5413"/>
                <a:gd name="T23" fmla="*/ 123 h 2461"/>
                <a:gd name="T24" fmla="*/ 3988 w 5413"/>
                <a:gd name="T25" fmla="*/ 747 h 2461"/>
                <a:gd name="T26" fmla="*/ 4016 w 5413"/>
                <a:gd name="T27" fmla="*/ 732 h 2461"/>
                <a:gd name="T28" fmla="*/ 626 w 5413"/>
                <a:gd name="T29" fmla="*/ 101 h 2461"/>
                <a:gd name="T30" fmla="*/ 73 w 5413"/>
                <a:gd name="T31" fmla="*/ 0 h 2461"/>
                <a:gd name="T32" fmla="*/ 73 w 5413"/>
                <a:gd name="T33" fmla="*/ 0 h 2461"/>
                <a:gd name="T34" fmla="*/ 0 w 5413"/>
                <a:gd name="T35" fmla="*/ 1328 h 2461"/>
                <a:gd name="T36" fmla="*/ 640 w 5413"/>
                <a:gd name="T37" fmla="*/ 1463 h 2461"/>
                <a:gd name="T38" fmla="*/ 638 w 5413"/>
                <a:gd name="T39" fmla="*/ 1442 h 2461"/>
                <a:gd name="T40" fmla="*/ 21 w 5413"/>
                <a:gd name="T41" fmla="*/ 1312 h 2461"/>
                <a:gd name="T42" fmla="*/ 94 w 5413"/>
                <a:gd name="T43" fmla="*/ 23 h 2461"/>
                <a:gd name="T44" fmla="*/ 543 w 5413"/>
                <a:gd name="T45" fmla="*/ 108 h 2461"/>
                <a:gd name="T46" fmla="*/ 541 w 5413"/>
                <a:gd name="T47" fmla="*/ 87 h 2461"/>
                <a:gd name="T48" fmla="*/ 73 w 5413"/>
                <a:gd name="T49" fmla="*/ 0 h 24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413" h="2461">
                  <a:moveTo>
                    <a:pt x="2286" y="1787"/>
                  </a:moveTo>
                  <a:lnTo>
                    <a:pt x="2260" y="1801"/>
                  </a:lnTo>
                  <a:lnTo>
                    <a:pt x="5413" y="2461"/>
                  </a:lnTo>
                  <a:lnTo>
                    <a:pt x="5392" y="2435"/>
                  </a:lnTo>
                  <a:lnTo>
                    <a:pt x="2286" y="1787"/>
                  </a:lnTo>
                  <a:moveTo>
                    <a:pt x="723" y="1458"/>
                  </a:moveTo>
                  <a:lnTo>
                    <a:pt x="723" y="1479"/>
                  </a:lnTo>
                  <a:lnTo>
                    <a:pt x="2134" y="1775"/>
                  </a:lnTo>
                  <a:lnTo>
                    <a:pt x="2163" y="1761"/>
                  </a:lnTo>
                  <a:lnTo>
                    <a:pt x="723" y="1458"/>
                  </a:lnTo>
                  <a:moveTo>
                    <a:pt x="626" y="101"/>
                  </a:moveTo>
                  <a:lnTo>
                    <a:pt x="629" y="123"/>
                  </a:lnTo>
                  <a:lnTo>
                    <a:pt x="3988" y="747"/>
                  </a:lnTo>
                  <a:lnTo>
                    <a:pt x="4016" y="732"/>
                  </a:lnTo>
                  <a:lnTo>
                    <a:pt x="626" y="101"/>
                  </a:lnTo>
                  <a:moveTo>
                    <a:pt x="73" y="0"/>
                  </a:moveTo>
                  <a:lnTo>
                    <a:pt x="73" y="0"/>
                  </a:lnTo>
                  <a:lnTo>
                    <a:pt x="0" y="1328"/>
                  </a:lnTo>
                  <a:lnTo>
                    <a:pt x="640" y="1463"/>
                  </a:lnTo>
                  <a:lnTo>
                    <a:pt x="638" y="1442"/>
                  </a:lnTo>
                  <a:lnTo>
                    <a:pt x="21" y="1312"/>
                  </a:lnTo>
                  <a:lnTo>
                    <a:pt x="94" y="23"/>
                  </a:lnTo>
                  <a:lnTo>
                    <a:pt x="543" y="108"/>
                  </a:lnTo>
                  <a:lnTo>
                    <a:pt x="541" y="87"/>
                  </a:lnTo>
                  <a:lnTo>
                    <a:pt x="7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58" name="Freeform 48"/>
            <p:cNvSpPr>
              <a:spLocks noEditPoints="1"/>
            </p:cNvSpPr>
            <p:nvPr/>
          </p:nvSpPr>
          <p:spPr bwMode="auto">
            <a:xfrm>
              <a:off x="316748" y="4478566"/>
              <a:ext cx="2955069" cy="2134329"/>
            </a:xfrm>
            <a:custGeom>
              <a:avLst/>
              <a:gdLst>
                <a:gd name="T0" fmla="*/ 3472 w 5822"/>
                <a:gd name="T1" fmla="*/ 567 h 4205"/>
                <a:gd name="T2" fmla="*/ 3413 w 5822"/>
                <a:gd name="T3" fmla="*/ 593 h 4205"/>
                <a:gd name="T4" fmla="*/ 5569 w 5822"/>
                <a:gd name="T5" fmla="*/ 1220 h 4205"/>
                <a:gd name="T6" fmla="*/ 5777 w 5822"/>
                <a:gd name="T7" fmla="*/ 4144 h 4205"/>
                <a:gd name="T8" fmla="*/ 64 w 5822"/>
                <a:gd name="T9" fmla="*/ 2146 h 4205"/>
                <a:gd name="T10" fmla="*/ 73 w 5822"/>
                <a:gd name="T11" fmla="*/ 2134 h 4205"/>
                <a:gd name="T12" fmla="*/ 0 w 5822"/>
                <a:gd name="T13" fmla="*/ 2168 h 4205"/>
                <a:gd name="T14" fmla="*/ 5822 w 5822"/>
                <a:gd name="T15" fmla="*/ 4205 h 4205"/>
                <a:gd name="T16" fmla="*/ 5609 w 5822"/>
                <a:gd name="T17" fmla="*/ 1186 h 4205"/>
                <a:gd name="T18" fmla="*/ 3472 w 5822"/>
                <a:gd name="T19" fmla="*/ 567 h 4205"/>
                <a:gd name="T20" fmla="*/ 1524 w 5822"/>
                <a:gd name="T21" fmla="*/ 0 h 4205"/>
                <a:gd name="T22" fmla="*/ 1505 w 5822"/>
                <a:gd name="T23" fmla="*/ 7 h 4205"/>
                <a:gd name="T24" fmla="*/ 59 w 5822"/>
                <a:gd name="T25" fmla="*/ 2118 h 4205"/>
                <a:gd name="T26" fmla="*/ 97 w 5822"/>
                <a:gd name="T27" fmla="*/ 2101 h 4205"/>
                <a:gd name="T28" fmla="*/ 1510 w 5822"/>
                <a:gd name="T29" fmla="*/ 40 h 4205"/>
                <a:gd name="T30" fmla="*/ 3385 w 5822"/>
                <a:gd name="T31" fmla="*/ 584 h 4205"/>
                <a:gd name="T32" fmla="*/ 3441 w 5822"/>
                <a:gd name="T33" fmla="*/ 558 h 4205"/>
                <a:gd name="T34" fmla="*/ 1524 w 5822"/>
                <a:gd name="T35" fmla="*/ 0 h 4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822" h="4205">
                  <a:moveTo>
                    <a:pt x="3472" y="567"/>
                  </a:moveTo>
                  <a:lnTo>
                    <a:pt x="3413" y="593"/>
                  </a:lnTo>
                  <a:lnTo>
                    <a:pt x="5569" y="1220"/>
                  </a:lnTo>
                  <a:lnTo>
                    <a:pt x="5777" y="4144"/>
                  </a:lnTo>
                  <a:lnTo>
                    <a:pt x="64" y="2146"/>
                  </a:lnTo>
                  <a:lnTo>
                    <a:pt x="73" y="2134"/>
                  </a:lnTo>
                  <a:lnTo>
                    <a:pt x="0" y="2168"/>
                  </a:lnTo>
                  <a:lnTo>
                    <a:pt x="5822" y="4205"/>
                  </a:lnTo>
                  <a:lnTo>
                    <a:pt x="5609" y="1186"/>
                  </a:lnTo>
                  <a:lnTo>
                    <a:pt x="3472" y="567"/>
                  </a:lnTo>
                  <a:close/>
                  <a:moveTo>
                    <a:pt x="1524" y="0"/>
                  </a:moveTo>
                  <a:lnTo>
                    <a:pt x="1505" y="7"/>
                  </a:lnTo>
                  <a:lnTo>
                    <a:pt x="59" y="2118"/>
                  </a:lnTo>
                  <a:lnTo>
                    <a:pt x="97" y="2101"/>
                  </a:lnTo>
                  <a:lnTo>
                    <a:pt x="1510" y="40"/>
                  </a:lnTo>
                  <a:lnTo>
                    <a:pt x="3385" y="584"/>
                  </a:lnTo>
                  <a:lnTo>
                    <a:pt x="3441" y="558"/>
                  </a:lnTo>
                  <a:lnTo>
                    <a:pt x="152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59" name="Freeform 49"/>
            <p:cNvSpPr>
              <a:spLocks noEditPoints="1"/>
            </p:cNvSpPr>
            <p:nvPr/>
          </p:nvSpPr>
          <p:spPr bwMode="auto">
            <a:xfrm>
              <a:off x="316748" y="4478566"/>
              <a:ext cx="2955069" cy="2134329"/>
            </a:xfrm>
            <a:custGeom>
              <a:avLst/>
              <a:gdLst>
                <a:gd name="T0" fmla="*/ 3472 w 5822"/>
                <a:gd name="T1" fmla="*/ 567 h 4205"/>
                <a:gd name="T2" fmla="*/ 3413 w 5822"/>
                <a:gd name="T3" fmla="*/ 593 h 4205"/>
                <a:gd name="T4" fmla="*/ 5569 w 5822"/>
                <a:gd name="T5" fmla="*/ 1220 h 4205"/>
                <a:gd name="T6" fmla="*/ 5777 w 5822"/>
                <a:gd name="T7" fmla="*/ 4144 h 4205"/>
                <a:gd name="T8" fmla="*/ 64 w 5822"/>
                <a:gd name="T9" fmla="*/ 2146 h 4205"/>
                <a:gd name="T10" fmla="*/ 73 w 5822"/>
                <a:gd name="T11" fmla="*/ 2134 h 4205"/>
                <a:gd name="T12" fmla="*/ 0 w 5822"/>
                <a:gd name="T13" fmla="*/ 2168 h 4205"/>
                <a:gd name="T14" fmla="*/ 5822 w 5822"/>
                <a:gd name="T15" fmla="*/ 4205 h 4205"/>
                <a:gd name="T16" fmla="*/ 5609 w 5822"/>
                <a:gd name="T17" fmla="*/ 1186 h 4205"/>
                <a:gd name="T18" fmla="*/ 3472 w 5822"/>
                <a:gd name="T19" fmla="*/ 567 h 4205"/>
                <a:gd name="T20" fmla="*/ 1524 w 5822"/>
                <a:gd name="T21" fmla="*/ 0 h 4205"/>
                <a:gd name="T22" fmla="*/ 1505 w 5822"/>
                <a:gd name="T23" fmla="*/ 7 h 4205"/>
                <a:gd name="T24" fmla="*/ 59 w 5822"/>
                <a:gd name="T25" fmla="*/ 2118 h 4205"/>
                <a:gd name="T26" fmla="*/ 97 w 5822"/>
                <a:gd name="T27" fmla="*/ 2101 h 4205"/>
                <a:gd name="T28" fmla="*/ 1510 w 5822"/>
                <a:gd name="T29" fmla="*/ 40 h 4205"/>
                <a:gd name="T30" fmla="*/ 3385 w 5822"/>
                <a:gd name="T31" fmla="*/ 584 h 4205"/>
                <a:gd name="T32" fmla="*/ 3441 w 5822"/>
                <a:gd name="T33" fmla="*/ 558 h 4205"/>
                <a:gd name="T34" fmla="*/ 1524 w 5822"/>
                <a:gd name="T35" fmla="*/ 0 h 4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822" h="4205">
                  <a:moveTo>
                    <a:pt x="3472" y="567"/>
                  </a:moveTo>
                  <a:lnTo>
                    <a:pt x="3413" y="593"/>
                  </a:lnTo>
                  <a:lnTo>
                    <a:pt x="5569" y="1220"/>
                  </a:lnTo>
                  <a:lnTo>
                    <a:pt x="5777" y="4144"/>
                  </a:lnTo>
                  <a:lnTo>
                    <a:pt x="64" y="2146"/>
                  </a:lnTo>
                  <a:lnTo>
                    <a:pt x="73" y="2134"/>
                  </a:lnTo>
                  <a:lnTo>
                    <a:pt x="0" y="2168"/>
                  </a:lnTo>
                  <a:lnTo>
                    <a:pt x="5822" y="4205"/>
                  </a:lnTo>
                  <a:lnTo>
                    <a:pt x="5609" y="1186"/>
                  </a:lnTo>
                  <a:lnTo>
                    <a:pt x="3472" y="567"/>
                  </a:lnTo>
                  <a:moveTo>
                    <a:pt x="1524" y="0"/>
                  </a:moveTo>
                  <a:lnTo>
                    <a:pt x="1505" y="7"/>
                  </a:lnTo>
                  <a:lnTo>
                    <a:pt x="59" y="2118"/>
                  </a:lnTo>
                  <a:lnTo>
                    <a:pt x="97" y="2101"/>
                  </a:lnTo>
                  <a:lnTo>
                    <a:pt x="1510" y="40"/>
                  </a:lnTo>
                  <a:lnTo>
                    <a:pt x="3385" y="584"/>
                  </a:lnTo>
                  <a:lnTo>
                    <a:pt x="3441" y="558"/>
                  </a:lnTo>
                  <a:lnTo>
                    <a:pt x="15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60" name="Freeform 50"/>
            <p:cNvSpPr>
              <a:spLocks noEditPoints="1"/>
            </p:cNvSpPr>
            <p:nvPr/>
          </p:nvSpPr>
          <p:spPr bwMode="auto">
            <a:xfrm>
              <a:off x="316748" y="4473490"/>
              <a:ext cx="1762281" cy="1105486"/>
            </a:xfrm>
            <a:custGeom>
              <a:avLst/>
              <a:gdLst>
                <a:gd name="T0" fmla="*/ 3441 w 3472"/>
                <a:gd name="T1" fmla="*/ 568 h 2178"/>
                <a:gd name="T2" fmla="*/ 3385 w 3472"/>
                <a:gd name="T3" fmla="*/ 594 h 2178"/>
                <a:gd name="T4" fmla="*/ 3413 w 3472"/>
                <a:gd name="T5" fmla="*/ 603 h 2178"/>
                <a:gd name="T6" fmla="*/ 3472 w 3472"/>
                <a:gd name="T7" fmla="*/ 577 h 2178"/>
                <a:gd name="T8" fmla="*/ 3441 w 3472"/>
                <a:gd name="T9" fmla="*/ 568 h 2178"/>
                <a:gd name="T10" fmla="*/ 1491 w 3472"/>
                <a:gd name="T11" fmla="*/ 0 h 2178"/>
                <a:gd name="T12" fmla="*/ 1491 w 3472"/>
                <a:gd name="T13" fmla="*/ 0 h 2178"/>
                <a:gd name="T14" fmla="*/ 0 w 3472"/>
                <a:gd name="T15" fmla="*/ 2178 h 2178"/>
                <a:gd name="T16" fmla="*/ 73 w 3472"/>
                <a:gd name="T17" fmla="*/ 2144 h 2178"/>
                <a:gd name="T18" fmla="*/ 97 w 3472"/>
                <a:gd name="T19" fmla="*/ 2111 h 2178"/>
                <a:gd name="T20" fmla="*/ 59 w 3472"/>
                <a:gd name="T21" fmla="*/ 2128 h 2178"/>
                <a:gd name="T22" fmla="*/ 1505 w 3472"/>
                <a:gd name="T23" fmla="*/ 17 h 2178"/>
                <a:gd name="T24" fmla="*/ 1524 w 3472"/>
                <a:gd name="T25" fmla="*/ 10 h 2178"/>
                <a:gd name="T26" fmla="*/ 1491 w 3472"/>
                <a:gd name="T27" fmla="*/ 0 h 2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472" h="2178">
                  <a:moveTo>
                    <a:pt x="3441" y="568"/>
                  </a:moveTo>
                  <a:lnTo>
                    <a:pt x="3385" y="594"/>
                  </a:lnTo>
                  <a:lnTo>
                    <a:pt x="3413" y="603"/>
                  </a:lnTo>
                  <a:lnTo>
                    <a:pt x="3472" y="577"/>
                  </a:lnTo>
                  <a:lnTo>
                    <a:pt x="3441" y="568"/>
                  </a:lnTo>
                  <a:close/>
                  <a:moveTo>
                    <a:pt x="1491" y="0"/>
                  </a:moveTo>
                  <a:lnTo>
                    <a:pt x="1491" y="0"/>
                  </a:lnTo>
                  <a:lnTo>
                    <a:pt x="0" y="2178"/>
                  </a:lnTo>
                  <a:lnTo>
                    <a:pt x="73" y="2144"/>
                  </a:lnTo>
                  <a:lnTo>
                    <a:pt x="97" y="2111"/>
                  </a:lnTo>
                  <a:lnTo>
                    <a:pt x="59" y="2128"/>
                  </a:lnTo>
                  <a:lnTo>
                    <a:pt x="1505" y="17"/>
                  </a:lnTo>
                  <a:lnTo>
                    <a:pt x="1524" y="10"/>
                  </a:lnTo>
                  <a:lnTo>
                    <a:pt x="149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61" name="Freeform 51"/>
            <p:cNvSpPr>
              <a:spLocks noEditPoints="1"/>
            </p:cNvSpPr>
            <p:nvPr/>
          </p:nvSpPr>
          <p:spPr bwMode="auto">
            <a:xfrm>
              <a:off x="316748" y="4473490"/>
              <a:ext cx="1762281" cy="1105486"/>
            </a:xfrm>
            <a:custGeom>
              <a:avLst/>
              <a:gdLst>
                <a:gd name="T0" fmla="*/ 3441 w 3472"/>
                <a:gd name="T1" fmla="*/ 568 h 2178"/>
                <a:gd name="T2" fmla="*/ 3385 w 3472"/>
                <a:gd name="T3" fmla="*/ 594 h 2178"/>
                <a:gd name="T4" fmla="*/ 3413 w 3472"/>
                <a:gd name="T5" fmla="*/ 603 h 2178"/>
                <a:gd name="T6" fmla="*/ 3472 w 3472"/>
                <a:gd name="T7" fmla="*/ 577 h 2178"/>
                <a:gd name="T8" fmla="*/ 3441 w 3472"/>
                <a:gd name="T9" fmla="*/ 568 h 2178"/>
                <a:gd name="T10" fmla="*/ 1491 w 3472"/>
                <a:gd name="T11" fmla="*/ 0 h 2178"/>
                <a:gd name="T12" fmla="*/ 1491 w 3472"/>
                <a:gd name="T13" fmla="*/ 0 h 2178"/>
                <a:gd name="T14" fmla="*/ 0 w 3472"/>
                <a:gd name="T15" fmla="*/ 2178 h 2178"/>
                <a:gd name="T16" fmla="*/ 73 w 3472"/>
                <a:gd name="T17" fmla="*/ 2144 h 2178"/>
                <a:gd name="T18" fmla="*/ 97 w 3472"/>
                <a:gd name="T19" fmla="*/ 2111 h 2178"/>
                <a:gd name="T20" fmla="*/ 59 w 3472"/>
                <a:gd name="T21" fmla="*/ 2128 h 2178"/>
                <a:gd name="T22" fmla="*/ 1505 w 3472"/>
                <a:gd name="T23" fmla="*/ 17 h 2178"/>
                <a:gd name="T24" fmla="*/ 1524 w 3472"/>
                <a:gd name="T25" fmla="*/ 10 h 2178"/>
                <a:gd name="T26" fmla="*/ 1491 w 3472"/>
                <a:gd name="T27" fmla="*/ 0 h 2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472" h="2178">
                  <a:moveTo>
                    <a:pt x="3441" y="568"/>
                  </a:moveTo>
                  <a:lnTo>
                    <a:pt x="3385" y="594"/>
                  </a:lnTo>
                  <a:lnTo>
                    <a:pt x="3413" y="603"/>
                  </a:lnTo>
                  <a:lnTo>
                    <a:pt x="3472" y="577"/>
                  </a:lnTo>
                  <a:lnTo>
                    <a:pt x="3441" y="568"/>
                  </a:lnTo>
                  <a:moveTo>
                    <a:pt x="1491" y="0"/>
                  </a:moveTo>
                  <a:lnTo>
                    <a:pt x="1491" y="0"/>
                  </a:lnTo>
                  <a:lnTo>
                    <a:pt x="0" y="2178"/>
                  </a:lnTo>
                  <a:lnTo>
                    <a:pt x="73" y="2144"/>
                  </a:lnTo>
                  <a:lnTo>
                    <a:pt x="97" y="2111"/>
                  </a:lnTo>
                  <a:lnTo>
                    <a:pt x="59" y="2128"/>
                  </a:lnTo>
                  <a:lnTo>
                    <a:pt x="1505" y="17"/>
                  </a:lnTo>
                  <a:lnTo>
                    <a:pt x="1524" y="10"/>
                  </a:lnTo>
                  <a:lnTo>
                    <a:pt x="149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66" name="Freeform 56"/>
            <p:cNvSpPr>
              <a:spLocks noEditPoints="1"/>
            </p:cNvSpPr>
            <p:nvPr/>
          </p:nvSpPr>
          <p:spPr bwMode="auto">
            <a:xfrm>
              <a:off x="1073534" y="4459278"/>
              <a:ext cx="1034426" cy="307079"/>
            </a:xfrm>
            <a:custGeom>
              <a:avLst/>
              <a:gdLst>
                <a:gd name="T0" fmla="*/ 2007 w 2038"/>
                <a:gd name="T1" fmla="*/ 570 h 605"/>
                <a:gd name="T2" fmla="*/ 1950 w 2038"/>
                <a:gd name="T3" fmla="*/ 596 h 605"/>
                <a:gd name="T4" fmla="*/ 1981 w 2038"/>
                <a:gd name="T5" fmla="*/ 605 h 605"/>
                <a:gd name="T6" fmla="*/ 2038 w 2038"/>
                <a:gd name="T7" fmla="*/ 577 h 605"/>
                <a:gd name="T8" fmla="*/ 2007 w 2038"/>
                <a:gd name="T9" fmla="*/ 570 h 605"/>
                <a:gd name="T10" fmla="*/ 71 w 2038"/>
                <a:gd name="T11" fmla="*/ 0 h 605"/>
                <a:gd name="T12" fmla="*/ 0 w 2038"/>
                <a:gd name="T13" fmla="*/ 28 h 605"/>
                <a:gd name="T14" fmla="*/ 33 w 2038"/>
                <a:gd name="T15" fmla="*/ 38 h 605"/>
                <a:gd name="T16" fmla="*/ 95 w 2038"/>
                <a:gd name="T17" fmla="*/ 14 h 605"/>
                <a:gd name="T18" fmla="*/ 66 w 2038"/>
                <a:gd name="T19" fmla="*/ 5 h 605"/>
                <a:gd name="T20" fmla="*/ 71 w 2038"/>
                <a:gd name="T21" fmla="*/ 0 h 6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38" h="605">
                  <a:moveTo>
                    <a:pt x="2007" y="570"/>
                  </a:moveTo>
                  <a:lnTo>
                    <a:pt x="1950" y="596"/>
                  </a:lnTo>
                  <a:lnTo>
                    <a:pt x="1981" y="605"/>
                  </a:lnTo>
                  <a:lnTo>
                    <a:pt x="2038" y="577"/>
                  </a:lnTo>
                  <a:lnTo>
                    <a:pt x="2007" y="570"/>
                  </a:lnTo>
                  <a:close/>
                  <a:moveTo>
                    <a:pt x="71" y="0"/>
                  </a:moveTo>
                  <a:lnTo>
                    <a:pt x="0" y="28"/>
                  </a:lnTo>
                  <a:lnTo>
                    <a:pt x="33" y="38"/>
                  </a:lnTo>
                  <a:lnTo>
                    <a:pt x="95" y="14"/>
                  </a:lnTo>
                  <a:lnTo>
                    <a:pt x="66" y="5"/>
                  </a:lnTo>
                  <a:lnTo>
                    <a:pt x="7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67" name="Freeform 57"/>
            <p:cNvSpPr>
              <a:spLocks noEditPoints="1"/>
            </p:cNvSpPr>
            <p:nvPr/>
          </p:nvSpPr>
          <p:spPr bwMode="auto">
            <a:xfrm>
              <a:off x="1073534" y="4459278"/>
              <a:ext cx="1034426" cy="307079"/>
            </a:xfrm>
            <a:custGeom>
              <a:avLst/>
              <a:gdLst>
                <a:gd name="T0" fmla="*/ 2007 w 2038"/>
                <a:gd name="T1" fmla="*/ 570 h 605"/>
                <a:gd name="T2" fmla="*/ 1950 w 2038"/>
                <a:gd name="T3" fmla="*/ 596 h 605"/>
                <a:gd name="T4" fmla="*/ 1981 w 2038"/>
                <a:gd name="T5" fmla="*/ 605 h 605"/>
                <a:gd name="T6" fmla="*/ 2038 w 2038"/>
                <a:gd name="T7" fmla="*/ 577 h 605"/>
                <a:gd name="T8" fmla="*/ 2007 w 2038"/>
                <a:gd name="T9" fmla="*/ 570 h 605"/>
                <a:gd name="T10" fmla="*/ 71 w 2038"/>
                <a:gd name="T11" fmla="*/ 0 h 605"/>
                <a:gd name="T12" fmla="*/ 0 w 2038"/>
                <a:gd name="T13" fmla="*/ 28 h 605"/>
                <a:gd name="T14" fmla="*/ 33 w 2038"/>
                <a:gd name="T15" fmla="*/ 38 h 605"/>
                <a:gd name="T16" fmla="*/ 95 w 2038"/>
                <a:gd name="T17" fmla="*/ 14 h 605"/>
                <a:gd name="T18" fmla="*/ 66 w 2038"/>
                <a:gd name="T19" fmla="*/ 5 h 605"/>
                <a:gd name="T20" fmla="*/ 71 w 2038"/>
                <a:gd name="T21" fmla="*/ 0 h 6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38" h="605">
                  <a:moveTo>
                    <a:pt x="2007" y="570"/>
                  </a:moveTo>
                  <a:lnTo>
                    <a:pt x="1950" y="596"/>
                  </a:lnTo>
                  <a:lnTo>
                    <a:pt x="1981" y="605"/>
                  </a:lnTo>
                  <a:lnTo>
                    <a:pt x="2038" y="577"/>
                  </a:lnTo>
                  <a:lnTo>
                    <a:pt x="2007" y="570"/>
                  </a:lnTo>
                  <a:moveTo>
                    <a:pt x="71" y="0"/>
                  </a:moveTo>
                  <a:lnTo>
                    <a:pt x="0" y="28"/>
                  </a:lnTo>
                  <a:lnTo>
                    <a:pt x="33" y="38"/>
                  </a:lnTo>
                  <a:lnTo>
                    <a:pt x="95" y="14"/>
                  </a:lnTo>
                  <a:lnTo>
                    <a:pt x="66" y="5"/>
                  </a:lnTo>
                  <a:lnTo>
                    <a:pt x="7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68" name="Freeform 58"/>
            <p:cNvSpPr>
              <a:spLocks noEditPoints="1"/>
            </p:cNvSpPr>
            <p:nvPr/>
          </p:nvSpPr>
          <p:spPr bwMode="auto">
            <a:xfrm>
              <a:off x="3052039" y="3813650"/>
              <a:ext cx="71060" cy="702984"/>
            </a:xfrm>
            <a:custGeom>
              <a:avLst/>
              <a:gdLst>
                <a:gd name="T0" fmla="*/ 97 w 140"/>
                <a:gd name="T1" fmla="*/ 1355 h 1385"/>
                <a:gd name="T2" fmla="*/ 99 w 140"/>
                <a:gd name="T3" fmla="*/ 1376 h 1385"/>
                <a:gd name="T4" fmla="*/ 140 w 140"/>
                <a:gd name="T5" fmla="*/ 1385 h 1385"/>
                <a:gd name="T6" fmla="*/ 140 w 140"/>
                <a:gd name="T7" fmla="*/ 1364 h 1385"/>
                <a:gd name="T8" fmla="*/ 97 w 140"/>
                <a:gd name="T9" fmla="*/ 1355 h 1385"/>
                <a:gd name="T10" fmla="*/ 0 w 140"/>
                <a:gd name="T11" fmla="*/ 0 h 1385"/>
                <a:gd name="T12" fmla="*/ 2 w 140"/>
                <a:gd name="T13" fmla="*/ 21 h 1385"/>
                <a:gd name="T14" fmla="*/ 45 w 140"/>
                <a:gd name="T15" fmla="*/ 28 h 1385"/>
                <a:gd name="T16" fmla="*/ 43 w 140"/>
                <a:gd name="T17" fmla="*/ 7 h 1385"/>
                <a:gd name="T18" fmla="*/ 0 w 140"/>
                <a:gd name="T19" fmla="*/ 0 h 1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0" h="1385">
                  <a:moveTo>
                    <a:pt x="97" y="1355"/>
                  </a:moveTo>
                  <a:lnTo>
                    <a:pt x="99" y="1376"/>
                  </a:lnTo>
                  <a:lnTo>
                    <a:pt x="140" y="1385"/>
                  </a:lnTo>
                  <a:lnTo>
                    <a:pt x="140" y="1364"/>
                  </a:lnTo>
                  <a:lnTo>
                    <a:pt x="97" y="1355"/>
                  </a:lnTo>
                  <a:close/>
                  <a:moveTo>
                    <a:pt x="0" y="0"/>
                  </a:moveTo>
                  <a:lnTo>
                    <a:pt x="2" y="21"/>
                  </a:lnTo>
                  <a:lnTo>
                    <a:pt x="45" y="28"/>
                  </a:lnTo>
                  <a:lnTo>
                    <a:pt x="43" y="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69" name="Freeform 59"/>
            <p:cNvSpPr>
              <a:spLocks noEditPoints="1"/>
            </p:cNvSpPr>
            <p:nvPr/>
          </p:nvSpPr>
          <p:spPr bwMode="auto">
            <a:xfrm>
              <a:off x="3052039" y="3813650"/>
              <a:ext cx="71060" cy="702984"/>
            </a:xfrm>
            <a:custGeom>
              <a:avLst/>
              <a:gdLst>
                <a:gd name="T0" fmla="*/ 97 w 140"/>
                <a:gd name="T1" fmla="*/ 1355 h 1385"/>
                <a:gd name="T2" fmla="*/ 99 w 140"/>
                <a:gd name="T3" fmla="*/ 1376 h 1385"/>
                <a:gd name="T4" fmla="*/ 140 w 140"/>
                <a:gd name="T5" fmla="*/ 1385 h 1385"/>
                <a:gd name="T6" fmla="*/ 140 w 140"/>
                <a:gd name="T7" fmla="*/ 1364 h 1385"/>
                <a:gd name="T8" fmla="*/ 97 w 140"/>
                <a:gd name="T9" fmla="*/ 1355 h 1385"/>
                <a:gd name="T10" fmla="*/ 0 w 140"/>
                <a:gd name="T11" fmla="*/ 0 h 1385"/>
                <a:gd name="T12" fmla="*/ 2 w 140"/>
                <a:gd name="T13" fmla="*/ 21 h 1385"/>
                <a:gd name="T14" fmla="*/ 45 w 140"/>
                <a:gd name="T15" fmla="*/ 28 h 1385"/>
                <a:gd name="T16" fmla="*/ 43 w 140"/>
                <a:gd name="T17" fmla="*/ 7 h 1385"/>
                <a:gd name="T18" fmla="*/ 0 w 140"/>
                <a:gd name="T19" fmla="*/ 0 h 1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0" h="1385">
                  <a:moveTo>
                    <a:pt x="97" y="1355"/>
                  </a:moveTo>
                  <a:lnTo>
                    <a:pt x="99" y="1376"/>
                  </a:lnTo>
                  <a:lnTo>
                    <a:pt x="140" y="1385"/>
                  </a:lnTo>
                  <a:lnTo>
                    <a:pt x="140" y="1364"/>
                  </a:lnTo>
                  <a:lnTo>
                    <a:pt x="97" y="1355"/>
                  </a:lnTo>
                  <a:moveTo>
                    <a:pt x="0" y="0"/>
                  </a:moveTo>
                  <a:lnTo>
                    <a:pt x="2" y="21"/>
                  </a:lnTo>
                  <a:lnTo>
                    <a:pt x="45" y="28"/>
                  </a:lnTo>
                  <a:lnTo>
                    <a:pt x="43" y="7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82" name="Freeform 72"/>
            <p:cNvSpPr>
              <a:spLocks noEditPoints="1"/>
            </p:cNvSpPr>
            <p:nvPr/>
          </p:nvSpPr>
          <p:spPr bwMode="auto">
            <a:xfrm>
              <a:off x="3163705" y="4154229"/>
              <a:ext cx="2393697" cy="2458666"/>
            </a:xfrm>
            <a:custGeom>
              <a:avLst/>
              <a:gdLst>
                <a:gd name="T0" fmla="*/ 1435 w 4716"/>
                <a:gd name="T1" fmla="*/ 1031 h 4844"/>
                <a:gd name="T2" fmla="*/ 0 w 4716"/>
                <a:gd name="T3" fmla="*/ 1825 h 4844"/>
                <a:gd name="T4" fmla="*/ 213 w 4716"/>
                <a:gd name="T5" fmla="*/ 4844 h 4844"/>
                <a:gd name="T6" fmla="*/ 4716 w 4716"/>
                <a:gd name="T7" fmla="*/ 1717 h 4844"/>
                <a:gd name="T8" fmla="*/ 4652 w 4716"/>
                <a:gd name="T9" fmla="*/ 1703 h 4844"/>
                <a:gd name="T10" fmla="*/ 4657 w 4716"/>
                <a:gd name="T11" fmla="*/ 1707 h 4844"/>
                <a:gd name="T12" fmla="*/ 248 w 4716"/>
                <a:gd name="T13" fmla="*/ 4769 h 4844"/>
                <a:gd name="T14" fmla="*/ 42 w 4716"/>
                <a:gd name="T15" fmla="*/ 1849 h 4844"/>
                <a:gd name="T16" fmla="*/ 1499 w 4716"/>
                <a:gd name="T17" fmla="*/ 1043 h 4844"/>
                <a:gd name="T18" fmla="*/ 1435 w 4716"/>
                <a:gd name="T19" fmla="*/ 1031 h 4844"/>
                <a:gd name="T20" fmla="*/ 3290 w 4716"/>
                <a:gd name="T21" fmla="*/ 0 h 4844"/>
                <a:gd name="T22" fmla="*/ 1463 w 4716"/>
                <a:gd name="T23" fmla="*/ 1015 h 4844"/>
                <a:gd name="T24" fmla="*/ 1525 w 4716"/>
                <a:gd name="T25" fmla="*/ 1029 h 4844"/>
                <a:gd name="T26" fmla="*/ 3309 w 4716"/>
                <a:gd name="T27" fmla="*/ 38 h 4844"/>
                <a:gd name="T28" fmla="*/ 4631 w 4716"/>
                <a:gd name="T29" fmla="*/ 1677 h 4844"/>
                <a:gd name="T30" fmla="*/ 4664 w 4716"/>
                <a:gd name="T31" fmla="*/ 1684 h 4844"/>
                <a:gd name="T32" fmla="*/ 3309 w 4716"/>
                <a:gd name="T33" fmla="*/ 5 h 4844"/>
                <a:gd name="T34" fmla="*/ 3290 w 4716"/>
                <a:gd name="T35" fmla="*/ 0 h 48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716" h="4844">
                  <a:moveTo>
                    <a:pt x="1435" y="1031"/>
                  </a:moveTo>
                  <a:lnTo>
                    <a:pt x="0" y="1825"/>
                  </a:lnTo>
                  <a:lnTo>
                    <a:pt x="213" y="4844"/>
                  </a:lnTo>
                  <a:lnTo>
                    <a:pt x="4716" y="1717"/>
                  </a:lnTo>
                  <a:lnTo>
                    <a:pt x="4652" y="1703"/>
                  </a:lnTo>
                  <a:lnTo>
                    <a:pt x="4657" y="1707"/>
                  </a:lnTo>
                  <a:lnTo>
                    <a:pt x="248" y="4769"/>
                  </a:lnTo>
                  <a:lnTo>
                    <a:pt x="42" y="1849"/>
                  </a:lnTo>
                  <a:lnTo>
                    <a:pt x="1499" y="1043"/>
                  </a:lnTo>
                  <a:lnTo>
                    <a:pt x="1435" y="1031"/>
                  </a:lnTo>
                  <a:close/>
                  <a:moveTo>
                    <a:pt x="3290" y="0"/>
                  </a:moveTo>
                  <a:lnTo>
                    <a:pt x="1463" y="1015"/>
                  </a:lnTo>
                  <a:lnTo>
                    <a:pt x="1525" y="1029"/>
                  </a:lnTo>
                  <a:lnTo>
                    <a:pt x="3309" y="38"/>
                  </a:lnTo>
                  <a:lnTo>
                    <a:pt x="4631" y="1677"/>
                  </a:lnTo>
                  <a:lnTo>
                    <a:pt x="4664" y="1684"/>
                  </a:lnTo>
                  <a:lnTo>
                    <a:pt x="3309" y="5"/>
                  </a:lnTo>
                  <a:lnTo>
                    <a:pt x="329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83" name="Freeform 73"/>
            <p:cNvSpPr>
              <a:spLocks noEditPoints="1"/>
            </p:cNvSpPr>
            <p:nvPr/>
          </p:nvSpPr>
          <p:spPr bwMode="auto">
            <a:xfrm>
              <a:off x="3163705" y="4154229"/>
              <a:ext cx="2393697" cy="2458666"/>
            </a:xfrm>
            <a:custGeom>
              <a:avLst/>
              <a:gdLst>
                <a:gd name="T0" fmla="*/ 1435 w 4716"/>
                <a:gd name="T1" fmla="*/ 1031 h 4844"/>
                <a:gd name="T2" fmla="*/ 0 w 4716"/>
                <a:gd name="T3" fmla="*/ 1825 h 4844"/>
                <a:gd name="T4" fmla="*/ 213 w 4716"/>
                <a:gd name="T5" fmla="*/ 4844 h 4844"/>
                <a:gd name="T6" fmla="*/ 4716 w 4716"/>
                <a:gd name="T7" fmla="*/ 1717 h 4844"/>
                <a:gd name="T8" fmla="*/ 4652 w 4716"/>
                <a:gd name="T9" fmla="*/ 1703 h 4844"/>
                <a:gd name="T10" fmla="*/ 4657 w 4716"/>
                <a:gd name="T11" fmla="*/ 1707 h 4844"/>
                <a:gd name="T12" fmla="*/ 248 w 4716"/>
                <a:gd name="T13" fmla="*/ 4769 h 4844"/>
                <a:gd name="T14" fmla="*/ 42 w 4716"/>
                <a:gd name="T15" fmla="*/ 1849 h 4844"/>
                <a:gd name="T16" fmla="*/ 1499 w 4716"/>
                <a:gd name="T17" fmla="*/ 1043 h 4844"/>
                <a:gd name="T18" fmla="*/ 1435 w 4716"/>
                <a:gd name="T19" fmla="*/ 1031 h 4844"/>
                <a:gd name="T20" fmla="*/ 3290 w 4716"/>
                <a:gd name="T21" fmla="*/ 0 h 4844"/>
                <a:gd name="T22" fmla="*/ 1463 w 4716"/>
                <a:gd name="T23" fmla="*/ 1015 h 4844"/>
                <a:gd name="T24" fmla="*/ 1525 w 4716"/>
                <a:gd name="T25" fmla="*/ 1029 h 4844"/>
                <a:gd name="T26" fmla="*/ 3309 w 4716"/>
                <a:gd name="T27" fmla="*/ 38 h 4844"/>
                <a:gd name="T28" fmla="*/ 4631 w 4716"/>
                <a:gd name="T29" fmla="*/ 1677 h 4844"/>
                <a:gd name="T30" fmla="*/ 4664 w 4716"/>
                <a:gd name="T31" fmla="*/ 1684 h 4844"/>
                <a:gd name="T32" fmla="*/ 3309 w 4716"/>
                <a:gd name="T33" fmla="*/ 5 h 4844"/>
                <a:gd name="T34" fmla="*/ 3290 w 4716"/>
                <a:gd name="T35" fmla="*/ 0 h 48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716" h="4844">
                  <a:moveTo>
                    <a:pt x="1435" y="1031"/>
                  </a:moveTo>
                  <a:lnTo>
                    <a:pt x="0" y="1825"/>
                  </a:lnTo>
                  <a:lnTo>
                    <a:pt x="213" y="4844"/>
                  </a:lnTo>
                  <a:lnTo>
                    <a:pt x="4716" y="1717"/>
                  </a:lnTo>
                  <a:lnTo>
                    <a:pt x="4652" y="1703"/>
                  </a:lnTo>
                  <a:lnTo>
                    <a:pt x="4657" y="1707"/>
                  </a:lnTo>
                  <a:lnTo>
                    <a:pt x="248" y="4769"/>
                  </a:lnTo>
                  <a:lnTo>
                    <a:pt x="42" y="1849"/>
                  </a:lnTo>
                  <a:lnTo>
                    <a:pt x="1499" y="1043"/>
                  </a:lnTo>
                  <a:lnTo>
                    <a:pt x="1435" y="1031"/>
                  </a:lnTo>
                  <a:moveTo>
                    <a:pt x="3290" y="0"/>
                  </a:moveTo>
                  <a:lnTo>
                    <a:pt x="1463" y="1015"/>
                  </a:lnTo>
                  <a:lnTo>
                    <a:pt x="1525" y="1029"/>
                  </a:lnTo>
                  <a:lnTo>
                    <a:pt x="3309" y="38"/>
                  </a:lnTo>
                  <a:lnTo>
                    <a:pt x="4631" y="1677"/>
                  </a:lnTo>
                  <a:lnTo>
                    <a:pt x="4664" y="1684"/>
                  </a:lnTo>
                  <a:lnTo>
                    <a:pt x="3309" y="5"/>
                  </a:lnTo>
                  <a:lnTo>
                    <a:pt x="329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84" name="Freeform 74"/>
            <p:cNvSpPr>
              <a:spLocks noEditPoints="1"/>
            </p:cNvSpPr>
            <p:nvPr/>
          </p:nvSpPr>
          <p:spPr bwMode="auto">
            <a:xfrm>
              <a:off x="3892067" y="4147123"/>
              <a:ext cx="1665335" cy="878603"/>
            </a:xfrm>
            <a:custGeom>
              <a:avLst/>
              <a:gdLst>
                <a:gd name="T0" fmla="*/ 28 w 3281"/>
                <a:gd name="T1" fmla="*/ 1029 h 1731"/>
                <a:gd name="T2" fmla="*/ 0 w 3281"/>
                <a:gd name="T3" fmla="*/ 1045 h 1731"/>
                <a:gd name="T4" fmla="*/ 64 w 3281"/>
                <a:gd name="T5" fmla="*/ 1057 h 1731"/>
                <a:gd name="T6" fmla="*/ 90 w 3281"/>
                <a:gd name="T7" fmla="*/ 1043 h 1731"/>
                <a:gd name="T8" fmla="*/ 28 w 3281"/>
                <a:gd name="T9" fmla="*/ 1029 h 1731"/>
                <a:gd name="T10" fmla="*/ 1884 w 3281"/>
                <a:gd name="T11" fmla="*/ 0 h 1731"/>
                <a:gd name="T12" fmla="*/ 1855 w 3281"/>
                <a:gd name="T13" fmla="*/ 14 h 1731"/>
                <a:gd name="T14" fmla="*/ 1874 w 3281"/>
                <a:gd name="T15" fmla="*/ 19 h 1731"/>
                <a:gd name="T16" fmla="*/ 3229 w 3281"/>
                <a:gd name="T17" fmla="*/ 1698 h 1731"/>
                <a:gd name="T18" fmla="*/ 3196 w 3281"/>
                <a:gd name="T19" fmla="*/ 1691 h 1731"/>
                <a:gd name="T20" fmla="*/ 3217 w 3281"/>
                <a:gd name="T21" fmla="*/ 1717 h 1731"/>
                <a:gd name="T22" fmla="*/ 3281 w 3281"/>
                <a:gd name="T23" fmla="*/ 1731 h 1731"/>
                <a:gd name="T24" fmla="*/ 1884 w 3281"/>
                <a:gd name="T25" fmla="*/ 0 h 17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81" h="1731">
                  <a:moveTo>
                    <a:pt x="28" y="1029"/>
                  </a:moveTo>
                  <a:lnTo>
                    <a:pt x="0" y="1045"/>
                  </a:lnTo>
                  <a:lnTo>
                    <a:pt x="64" y="1057"/>
                  </a:lnTo>
                  <a:lnTo>
                    <a:pt x="90" y="1043"/>
                  </a:lnTo>
                  <a:lnTo>
                    <a:pt x="28" y="1029"/>
                  </a:lnTo>
                  <a:close/>
                  <a:moveTo>
                    <a:pt x="1884" y="0"/>
                  </a:moveTo>
                  <a:lnTo>
                    <a:pt x="1855" y="14"/>
                  </a:lnTo>
                  <a:lnTo>
                    <a:pt x="1874" y="19"/>
                  </a:lnTo>
                  <a:lnTo>
                    <a:pt x="3229" y="1698"/>
                  </a:lnTo>
                  <a:lnTo>
                    <a:pt x="3196" y="1691"/>
                  </a:lnTo>
                  <a:lnTo>
                    <a:pt x="3217" y="1717"/>
                  </a:lnTo>
                  <a:lnTo>
                    <a:pt x="3281" y="1731"/>
                  </a:lnTo>
                  <a:lnTo>
                    <a:pt x="188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85" name="Freeform 75"/>
            <p:cNvSpPr>
              <a:spLocks noEditPoints="1"/>
            </p:cNvSpPr>
            <p:nvPr/>
          </p:nvSpPr>
          <p:spPr bwMode="auto">
            <a:xfrm>
              <a:off x="3892067" y="4147123"/>
              <a:ext cx="1665335" cy="878603"/>
            </a:xfrm>
            <a:custGeom>
              <a:avLst/>
              <a:gdLst>
                <a:gd name="T0" fmla="*/ 28 w 3281"/>
                <a:gd name="T1" fmla="*/ 1029 h 1731"/>
                <a:gd name="T2" fmla="*/ 0 w 3281"/>
                <a:gd name="T3" fmla="*/ 1045 h 1731"/>
                <a:gd name="T4" fmla="*/ 64 w 3281"/>
                <a:gd name="T5" fmla="*/ 1057 h 1731"/>
                <a:gd name="T6" fmla="*/ 90 w 3281"/>
                <a:gd name="T7" fmla="*/ 1043 h 1731"/>
                <a:gd name="T8" fmla="*/ 28 w 3281"/>
                <a:gd name="T9" fmla="*/ 1029 h 1731"/>
                <a:gd name="T10" fmla="*/ 1884 w 3281"/>
                <a:gd name="T11" fmla="*/ 0 h 1731"/>
                <a:gd name="T12" fmla="*/ 1855 w 3281"/>
                <a:gd name="T13" fmla="*/ 14 h 1731"/>
                <a:gd name="T14" fmla="*/ 1874 w 3281"/>
                <a:gd name="T15" fmla="*/ 19 h 1731"/>
                <a:gd name="T16" fmla="*/ 3229 w 3281"/>
                <a:gd name="T17" fmla="*/ 1698 h 1731"/>
                <a:gd name="T18" fmla="*/ 3196 w 3281"/>
                <a:gd name="T19" fmla="*/ 1691 h 1731"/>
                <a:gd name="T20" fmla="*/ 3217 w 3281"/>
                <a:gd name="T21" fmla="*/ 1717 h 1731"/>
                <a:gd name="T22" fmla="*/ 3281 w 3281"/>
                <a:gd name="T23" fmla="*/ 1731 h 1731"/>
                <a:gd name="T24" fmla="*/ 1884 w 3281"/>
                <a:gd name="T25" fmla="*/ 0 h 17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81" h="1731">
                  <a:moveTo>
                    <a:pt x="28" y="1029"/>
                  </a:moveTo>
                  <a:lnTo>
                    <a:pt x="0" y="1045"/>
                  </a:lnTo>
                  <a:lnTo>
                    <a:pt x="64" y="1057"/>
                  </a:lnTo>
                  <a:lnTo>
                    <a:pt x="90" y="1043"/>
                  </a:lnTo>
                  <a:lnTo>
                    <a:pt x="28" y="1029"/>
                  </a:lnTo>
                  <a:moveTo>
                    <a:pt x="1884" y="0"/>
                  </a:moveTo>
                  <a:lnTo>
                    <a:pt x="1855" y="14"/>
                  </a:lnTo>
                  <a:lnTo>
                    <a:pt x="1874" y="19"/>
                  </a:lnTo>
                  <a:lnTo>
                    <a:pt x="3229" y="1698"/>
                  </a:lnTo>
                  <a:lnTo>
                    <a:pt x="3196" y="1691"/>
                  </a:lnTo>
                  <a:lnTo>
                    <a:pt x="3217" y="1717"/>
                  </a:lnTo>
                  <a:lnTo>
                    <a:pt x="3281" y="1731"/>
                  </a:lnTo>
                  <a:lnTo>
                    <a:pt x="188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88" name="Freeform 78"/>
            <p:cNvSpPr>
              <a:spLocks noEditPoints="1"/>
            </p:cNvSpPr>
            <p:nvPr/>
          </p:nvSpPr>
          <p:spPr bwMode="auto">
            <a:xfrm>
              <a:off x="3073865" y="3817203"/>
              <a:ext cx="1774463" cy="860330"/>
            </a:xfrm>
            <a:custGeom>
              <a:avLst/>
              <a:gdLst>
                <a:gd name="T0" fmla="*/ 1579 w 3496"/>
                <a:gd name="T1" fmla="*/ 1667 h 1695"/>
                <a:gd name="T2" fmla="*/ 1550 w 3496"/>
                <a:gd name="T3" fmla="*/ 1681 h 1695"/>
                <a:gd name="T4" fmla="*/ 1612 w 3496"/>
                <a:gd name="T5" fmla="*/ 1695 h 1695"/>
                <a:gd name="T6" fmla="*/ 1640 w 3496"/>
                <a:gd name="T7" fmla="*/ 1679 h 1695"/>
                <a:gd name="T8" fmla="*/ 1579 w 3496"/>
                <a:gd name="T9" fmla="*/ 1667 h 1695"/>
                <a:gd name="T10" fmla="*/ 97 w 3496"/>
                <a:gd name="T11" fmla="*/ 1357 h 1695"/>
                <a:gd name="T12" fmla="*/ 97 w 3496"/>
                <a:gd name="T13" fmla="*/ 1378 h 1695"/>
                <a:gd name="T14" fmla="*/ 139 w 3496"/>
                <a:gd name="T15" fmla="*/ 1385 h 1695"/>
                <a:gd name="T16" fmla="*/ 139 w 3496"/>
                <a:gd name="T17" fmla="*/ 1364 h 1695"/>
                <a:gd name="T18" fmla="*/ 97 w 3496"/>
                <a:gd name="T19" fmla="*/ 1357 h 1695"/>
                <a:gd name="T20" fmla="*/ 3432 w 3496"/>
                <a:gd name="T21" fmla="*/ 638 h 1695"/>
                <a:gd name="T22" fmla="*/ 3404 w 3496"/>
                <a:gd name="T23" fmla="*/ 653 h 1695"/>
                <a:gd name="T24" fmla="*/ 3467 w 3496"/>
                <a:gd name="T25" fmla="*/ 664 h 1695"/>
                <a:gd name="T26" fmla="*/ 3496 w 3496"/>
                <a:gd name="T27" fmla="*/ 650 h 1695"/>
                <a:gd name="T28" fmla="*/ 3432 w 3496"/>
                <a:gd name="T29" fmla="*/ 638 h 1695"/>
                <a:gd name="T30" fmla="*/ 0 w 3496"/>
                <a:gd name="T31" fmla="*/ 0 h 1695"/>
                <a:gd name="T32" fmla="*/ 2 w 3496"/>
                <a:gd name="T33" fmla="*/ 21 h 1695"/>
                <a:gd name="T34" fmla="*/ 45 w 3496"/>
                <a:gd name="T35" fmla="*/ 29 h 1695"/>
                <a:gd name="T36" fmla="*/ 42 w 3496"/>
                <a:gd name="T37" fmla="*/ 7 h 1695"/>
                <a:gd name="T38" fmla="*/ 0 w 3496"/>
                <a:gd name="T39" fmla="*/ 0 h 1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496" h="1695">
                  <a:moveTo>
                    <a:pt x="1579" y="1667"/>
                  </a:moveTo>
                  <a:lnTo>
                    <a:pt x="1550" y="1681"/>
                  </a:lnTo>
                  <a:lnTo>
                    <a:pt x="1612" y="1695"/>
                  </a:lnTo>
                  <a:lnTo>
                    <a:pt x="1640" y="1679"/>
                  </a:lnTo>
                  <a:lnTo>
                    <a:pt x="1579" y="1667"/>
                  </a:lnTo>
                  <a:close/>
                  <a:moveTo>
                    <a:pt x="97" y="1357"/>
                  </a:moveTo>
                  <a:lnTo>
                    <a:pt x="97" y="1378"/>
                  </a:lnTo>
                  <a:lnTo>
                    <a:pt x="139" y="1385"/>
                  </a:lnTo>
                  <a:lnTo>
                    <a:pt x="139" y="1364"/>
                  </a:lnTo>
                  <a:lnTo>
                    <a:pt x="97" y="1357"/>
                  </a:lnTo>
                  <a:close/>
                  <a:moveTo>
                    <a:pt x="3432" y="638"/>
                  </a:moveTo>
                  <a:lnTo>
                    <a:pt x="3404" y="653"/>
                  </a:lnTo>
                  <a:lnTo>
                    <a:pt x="3467" y="664"/>
                  </a:lnTo>
                  <a:lnTo>
                    <a:pt x="3496" y="650"/>
                  </a:lnTo>
                  <a:lnTo>
                    <a:pt x="3432" y="638"/>
                  </a:lnTo>
                  <a:close/>
                  <a:moveTo>
                    <a:pt x="0" y="0"/>
                  </a:moveTo>
                  <a:lnTo>
                    <a:pt x="2" y="21"/>
                  </a:lnTo>
                  <a:lnTo>
                    <a:pt x="45" y="29"/>
                  </a:lnTo>
                  <a:lnTo>
                    <a:pt x="42" y="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89" name="Freeform 79"/>
            <p:cNvSpPr>
              <a:spLocks noEditPoints="1"/>
            </p:cNvSpPr>
            <p:nvPr/>
          </p:nvSpPr>
          <p:spPr bwMode="auto">
            <a:xfrm>
              <a:off x="3073865" y="3817203"/>
              <a:ext cx="1774463" cy="860330"/>
            </a:xfrm>
            <a:custGeom>
              <a:avLst/>
              <a:gdLst>
                <a:gd name="T0" fmla="*/ 1579 w 3496"/>
                <a:gd name="T1" fmla="*/ 1667 h 1695"/>
                <a:gd name="T2" fmla="*/ 1550 w 3496"/>
                <a:gd name="T3" fmla="*/ 1681 h 1695"/>
                <a:gd name="T4" fmla="*/ 1612 w 3496"/>
                <a:gd name="T5" fmla="*/ 1695 h 1695"/>
                <a:gd name="T6" fmla="*/ 1640 w 3496"/>
                <a:gd name="T7" fmla="*/ 1679 h 1695"/>
                <a:gd name="T8" fmla="*/ 1579 w 3496"/>
                <a:gd name="T9" fmla="*/ 1667 h 1695"/>
                <a:gd name="T10" fmla="*/ 97 w 3496"/>
                <a:gd name="T11" fmla="*/ 1357 h 1695"/>
                <a:gd name="T12" fmla="*/ 97 w 3496"/>
                <a:gd name="T13" fmla="*/ 1378 h 1695"/>
                <a:gd name="T14" fmla="*/ 139 w 3496"/>
                <a:gd name="T15" fmla="*/ 1385 h 1695"/>
                <a:gd name="T16" fmla="*/ 139 w 3496"/>
                <a:gd name="T17" fmla="*/ 1364 h 1695"/>
                <a:gd name="T18" fmla="*/ 97 w 3496"/>
                <a:gd name="T19" fmla="*/ 1357 h 1695"/>
                <a:gd name="T20" fmla="*/ 3432 w 3496"/>
                <a:gd name="T21" fmla="*/ 638 h 1695"/>
                <a:gd name="T22" fmla="*/ 3404 w 3496"/>
                <a:gd name="T23" fmla="*/ 653 h 1695"/>
                <a:gd name="T24" fmla="*/ 3467 w 3496"/>
                <a:gd name="T25" fmla="*/ 664 h 1695"/>
                <a:gd name="T26" fmla="*/ 3496 w 3496"/>
                <a:gd name="T27" fmla="*/ 650 h 1695"/>
                <a:gd name="T28" fmla="*/ 3432 w 3496"/>
                <a:gd name="T29" fmla="*/ 638 h 1695"/>
                <a:gd name="T30" fmla="*/ 0 w 3496"/>
                <a:gd name="T31" fmla="*/ 0 h 1695"/>
                <a:gd name="T32" fmla="*/ 2 w 3496"/>
                <a:gd name="T33" fmla="*/ 21 h 1695"/>
                <a:gd name="T34" fmla="*/ 45 w 3496"/>
                <a:gd name="T35" fmla="*/ 29 h 1695"/>
                <a:gd name="T36" fmla="*/ 42 w 3496"/>
                <a:gd name="T37" fmla="*/ 7 h 1695"/>
                <a:gd name="T38" fmla="*/ 0 w 3496"/>
                <a:gd name="T39" fmla="*/ 0 h 1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496" h="1695">
                  <a:moveTo>
                    <a:pt x="1579" y="1667"/>
                  </a:moveTo>
                  <a:lnTo>
                    <a:pt x="1550" y="1681"/>
                  </a:lnTo>
                  <a:lnTo>
                    <a:pt x="1612" y="1695"/>
                  </a:lnTo>
                  <a:lnTo>
                    <a:pt x="1640" y="1679"/>
                  </a:lnTo>
                  <a:lnTo>
                    <a:pt x="1579" y="1667"/>
                  </a:lnTo>
                  <a:moveTo>
                    <a:pt x="97" y="1357"/>
                  </a:moveTo>
                  <a:lnTo>
                    <a:pt x="97" y="1378"/>
                  </a:lnTo>
                  <a:lnTo>
                    <a:pt x="139" y="1385"/>
                  </a:lnTo>
                  <a:lnTo>
                    <a:pt x="139" y="1364"/>
                  </a:lnTo>
                  <a:lnTo>
                    <a:pt x="97" y="1357"/>
                  </a:lnTo>
                  <a:moveTo>
                    <a:pt x="3432" y="638"/>
                  </a:moveTo>
                  <a:lnTo>
                    <a:pt x="3404" y="653"/>
                  </a:lnTo>
                  <a:lnTo>
                    <a:pt x="3467" y="664"/>
                  </a:lnTo>
                  <a:lnTo>
                    <a:pt x="3496" y="650"/>
                  </a:lnTo>
                  <a:lnTo>
                    <a:pt x="3432" y="638"/>
                  </a:lnTo>
                  <a:moveTo>
                    <a:pt x="0" y="0"/>
                  </a:moveTo>
                  <a:lnTo>
                    <a:pt x="2" y="21"/>
                  </a:lnTo>
                  <a:lnTo>
                    <a:pt x="45" y="29"/>
                  </a:lnTo>
                  <a:lnTo>
                    <a:pt x="42" y="7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1"/>
            <p:cNvSpPr>
              <a:spLocks/>
            </p:cNvSpPr>
            <p:nvPr/>
          </p:nvSpPr>
          <p:spPr bwMode="auto">
            <a:xfrm>
              <a:off x="316495" y="4473489"/>
              <a:ext cx="2955068" cy="2139404"/>
            </a:xfrm>
            <a:custGeom>
              <a:avLst/>
              <a:gdLst>
                <a:gd name="T0" fmla="*/ 1491 w 5822"/>
                <a:gd name="T1" fmla="*/ 0 h 4215"/>
                <a:gd name="T2" fmla="*/ 0 w 5822"/>
                <a:gd name="T3" fmla="*/ 2178 h 4215"/>
                <a:gd name="T4" fmla="*/ 5822 w 5822"/>
                <a:gd name="T5" fmla="*/ 4215 h 4215"/>
                <a:gd name="T6" fmla="*/ 5609 w 5822"/>
                <a:gd name="T7" fmla="*/ 1196 h 4215"/>
                <a:gd name="T8" fmla="*/ 1491 w 5822"/>
                <a:gd name="T9" fmla="*/ 0 h 4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22" h="4215">
                  <a:moveTo>
                    <a:pt x="1491" y="0"/>
                  </a:moveTo>
                  <a:lnTo>
                    <a:pt x="0" y="2178"/>
                  </a:lnTo>
                  <a:lnTo>
                    <a:pt x="5822" y="4215"/>
                  </a:lnTo>
                  <a:lnTo>
                    <a:pt x="5609" y="1196"/>
                  </a:lnTo>
                  <a:lnTo>
                    <a:pt x="1491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2"/>
            <p:cNvSpPr>
              <a:spLocks/>
            </p:cNvSpPr>
            <p:nvPr/>
          </p:nvSpPr>
          <p:spPr bwMode="auto">
            <a:xfrm>
              <a:off x="316495" y="4473489"/>
              <a:ext cx="2955068" cy="2139404"/>
            </a:xfrm>
            <a:custGeom>
              <a:avLst/>
              <a:gdLst>
                <a:gd name="T0" fmla="*/ 1491 w 5822"/>
                <a:gd name="T1" fmla="*/ 0 h 4215"/>
                <a:gd name="T2" fmla="*/ 0 w 5822"/>
                <a:gd name="T3" fmla="*/ 2178 h 4215"/>
                <a:gd name="T4" fmla="*/ 5822 w 5822"/>
                <a:gd name="T5" fmla="*/ 4215 h 4215"/>
                <a:gd name="T6" fmla="*/ 5609 w 5822"/>
                <a:gd name="T7" fmla="*/ 1196 h 4215"/>
                <a:gd name="T8" fmla="*/ 1491 w 5822"/>
                <a:gd name="T9" fmla="*/ 0 h 4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22" h="4215">
                  <a:moveTo>
                    <a:pt x="1491" y="0"/>
                  </a:moveTo>
                  <a:lnTo>
                    <a:pt x="0" y="2178"/>
                  </a:lnTo>
                  <a:lnTo>
                    <a:pt x="5822" y="4215"/>
                  </a:lnTo>
                  <a:lnTo>
                    <a:pt x="5609" y="1196"/>
                  </a:lnTo>
                  <a:lnTo>
                    <a:pt x="149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7"/>
            <p:cNvSpPr>
              <a:spLocks/>
            </p:cNvSpPr>
            <p:nvPr/>
          </p:nvSpPr>
          <p:spPr bwMode="auto">
            <a:xfrm>
              <a:off x="3163450" y="4147122"/>
              <a:ext cx="2394204" cy="2465771"/>
            </a:xfrm>
            <a:custGeom>
              <a:avLst/>
              <a:gdLst>
                <a:gd name="T0" fmla="*/ 3320 w 4717"/>
                <a:gd name="T1" fmla="*/ 0 h 4858"/>
                <a:gd name="T2" fmla="*/ 0 w 4717"/>
                <a:gd name="T3" fmla="*/ 1839 h 4858"/>
                <a:gd name="T4" fmla="*/ 213 w 4717"/>
                <a:gd name="T5" fmla="*/ 4858 h 4858"/>
                <a:gd name="T6" fmla="*/ 4717 w 4717"/>
                <a:gd name="T7" fmla="*/ 1731 h 4858"/>
                <a:gd name="T8" fmla="*/ 3320 w 4717"/>
                <a:gd name="T9" fmla="*/ 0 h 48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17" h="4858">
                  <a:moveTo>
                    <a:pt x="3320" y="0"/>
                  </a:moveTo>
                  <a:lnTo>
                    <a:pt x="0" y="1839"/>
                  </a:lnTo>
                  <a:lnTo>
                    <a:pt x="213" y="4858"/>
                  </a:lnTo>
                  <a:lnTo>
                    <a:pt x="4717" y="1731"/>
                  </a:lnTo>
                  <a:lnTo>
                    <a:pt x="3320" y="0"/>
                  </a:lnTo>
                  <a:close/>
                </a:path>
              </a:pathLst>
            </a:custGeom>
            <a:solidFill>
              <a:schemeClr val="accent1">
                <a:alpha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8"/>
            <p:cNvSpPr>
              <a:spLocks/>
            </p:cNvSpPr>
            <p:nvPr/>
          </p:nvSpPr>
          <p:spPr bwMode="auto">
            <a:xfrm>
              <a:off x="3163450" y="4147122"/>
              <a:ext cx="2394204" cy="2465771"/>
            </a:xfrm>
            <a:custGeom>
              <a:avLst/>
              <a:gdLst>
                <a:gd name="T0" fmla="*/ 3320 w 4717"/>
                <a:gd name="T1" fmla="*/ 0 h 4858"/>
                <a:gd name="T2" fmla="*/ 0 w 4717"/>
                <a:gd name="T3" fmla="*/ 1839 h 4858"/>
                <a:gd name="T4" fmla="*/ 213 w 4717"/>
                <a:gd name="T5" fmla="*/ 4858 h 4858"/>
                <a:gd name="T6" fmla="*/ 4717 w 4717"/>
                <a:gd name="T7" fmla="*/ 1731 h 4858"/>
                <a:gd name="T8" fmla="*/ 3320 w 4717"/>
                <a:gd name="T9" fmla="*/ 0 h 48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17" h="4858">
                  <a:moveTo>
                    <a:pt x="3320" y="0"/>
                  </a:moveTo>
                  <a:lnTo>
                    <a:pt x="0" y="1839"/>
                  </a:lnTo>
                  <a:lnTo>
                    <a:pt x="213" y="4858"/>
                  </a:lnTo>
                  <a:lnTo>
                    <a:pt x="4717" y="1731"/>
                  </a:lnTo>
                  <a:lnTo>
                    <a:pt x="332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6A1C503C-77C8-4814-8038-08F189ED2A9B}"/>
              </a:ext>
            </a:extLst>
          </p:cNvPr>
          <p:cNvGrpSpPr/>
          <p:nvPr/>
        </p:nvGrpSpPr>
        <p:grpSpPr>
          <a:xfrm>
            <a:off x="920221" y="2942661"/>
            <a:ext cx="3775959" cy="2137883"/>
            <a:chOff x="1072621" y="2942661"/>
            <a:chExt cx="3775959" cy="2137883"/>
          </a:xfrm>
        </p:grpSpPr>
        <p:sp>
          <p:nvSpPr>
            <p:cNvPr id="35903" name="Freeform 93"/>
            <p:cNvSpPr>
              <a:spLocks/>
            </p:cNvSpPr>
            <p:nvPr/>
          </p:nvSpPr>
          <p:spPr bwMode="auto">
            <a:xfrm>
              <a:off x="1072621" y="2943841"/>
              <a:ext cx="1789182" cy="1530829"/>
            </a:xfrm>
            <a:custGeom>
              <a:avLst/>
              <a:gdLst>
                <a:gd name="T0" fmla="*/ 3525 w 3525"/>
                <a:gd name="T1" fmla="*/ 0 h 3016"/>
                <a:gd name="T2" fmla="*/ 1667 w 3525"/>
                <a:gd name="T3" fmla="*/ 588 h 3016"/>
                <a:gd name="T4" fmla="*/ 0 w 3525"/>
                <a:gd name="T5" fmla="*/ 3016 h 3016"/>
                <a:gd name="T6" fmla="*/ 3430 w 3525"/>
                <a:gd name="T7" fmla="*/ 1629 h 3016"/>
                <a:gd name="T8" fmla="*/ 3525 w 3525"/>
                <a:gd name="T9" fmla="*/ 0 h 3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25" h="3016">
                  <a:moveTo>
                    <a:pt x="3525" y="0"/>
                  </a:moveTo>
                  <a:lnTo>
                    <a:pt x="1667" y="588"/>
                  </a:lnTo>
                  <a:lnTo>
                    <a:pt x="0" y="3016"/>
                  </a:lnTo>
                  <a:lnTo>
                    <a:pt x="3430" y="1629"/>
                  </a:lnTo>
                  <a:lnTo>
                    <a:pt x="3525" y="0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04" name="Freeform 94"/>
            <p:cNvSpPr>
              <a:spLocks/>
            </p:cNvSpPr>
            <p:nvPr/>
          </p:nvSpPr>
          <p:spPr bwMode="auto">
            <a:xfrm>
              <a:off x="1072621" y="2943841"/>
              <a:ext cx="1789182" cy="1530829"/>
            </a:xfrm>
            <a:custGeom>
              <a:avLst/>
              <a:gdLst>
                <a:gd name="T0" fmla="*/ 3525 w 3525"/>
                <a:gd name="T1" fmla="*/ 0 h 3016"/>
                <a:gd name="T2" fmla="*/ 1667 w 3525"/>
                <a:gd name="T3" fmla="*/ 588 h 3016"/>
                <a:gd name="T4" fmla="*/ 0 w 3525"/>
                <a:gd name="T5" fmla="*/ 3016 h 3016"/>
                <a:gd name="T6" fmla="*/ 3430 w 3525"/>
                <a:gd name="T7" fmla="*/ 1629 h 3016"/>
                <a:gd name="T8" fmla="*/ 3525 w 3525"/>
                <a:gd name="T9" fmla="*/ 0 h 3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25" h="3016">
                  <a:moveTo>
                    <a:pt x="3525" y="0"/>
                  </a:moveTo>
                  <a:lnTo>
                    <a:pt x="1667" y="588"/>
                  </a:lnTo>
                  <a:lnTo>
                    <a:pt x="0" y="3016"/>
                  </a:lnTo>
                  <a:lnTo>
                    <a:pt x="3430" y="1629"/>
                  </a:lnTo>
                  <a:lnTo>
                    <a:pt x="352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11" name="Freeform 101"/>
            <p:cNvSpPr>
              <a:spLocks/>
            </p:cNvSpPr>
            <p:nvPr/>
          </p:nvSpPr>
          <p:spPr bwMode="auto">
            <a:xfrm>
              <a:off x="2813584" y="2943841"/>
              <a:ext cx="2033831" cy="1204462"/>
            </a:xfrm>
            <a:custGeom>
              <a:avLst/>
              <a:gdLst>
                <a:gd name="T0" fmla="*/ 95 w 4007"/>
                <a:gd name="T1" fmla="*/ 0 h 2373"/>
                <a:gd name="T2" fmla="*/ 95 w 4007"/>
                <a:gd name="T3" fmla="*/ 0 h 2373"/>
                <a:gd name="T4" fmla="*/ 0 w 4007"/>
                <a:gd name="T5" fmla="*/ 1629 h 2373"/>
                <a:gd name="T6" fmla="*/ 4007 w 4007"/>
                <a:gd name="T7" fmla="*/ 2373 h 2373"/>
                <a:gd name="T8" fmla="*/ 2357 w 4007"/>
                <a:gd name="T9" fmla="*/ 326 h 2373"/>
                <a:gd name="T10" fmla="*/ 95 w 4007"/>
                <a:gd name="T11" fmla="*/ 0 h 2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07" h="2373">
                  <a:moveTo>
                    <a:pt x="95" y="0"/>
                  </a:moveTo>
                  <a:lnTo>
                    <a:pt x="95" y="0"/>
                  </a:lnTo>
                  <a:lnTo>
                    <a:pt x="0" y="1629"/>
                  </a:lnTo>
                  <a:lnTo>
                    <a:pt x="4007" y="2373"/>
                  </a:lnTo>
                  <a:lnTo>
                    <a:pt x="2357" y="326"/>
                  </a:lnTo>
                  <a:lnTo>
                    <a:pt x="9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12" name="Freeform 102"/>
            <p:cNvSpPr>
              <a:spLocks/>
            </p:cNvSpPr>
            <p:nvPr/>
          </p:nvSpPr>
          <p:spPr bwMode="auto">
            <a:xfrm>
              <a:off x="2813584" y="2943841"/>
              <a:ext cx="2033831" cy="1204462"/>
            </a:xfrm>
            <a:custGeom>
              <a:avLst/>
              <a:gdLst>
                <a:gd name="T0" fmla="*/ 95 w 4007"/>
                <a:gd name="T1" fmla="*/ 0 h 2373"/>
                <a:gd name="T2" fmla="*/ 95 w 4007"/>
                <a:gd name="T3" fmla="*/ 0 h 2373"/>
                <a:gd name="T4" fmla="*/ 0 w 4007"/>
                <a:gd name="T5" fmla="*/ 1629 h 2373"/>
                <a:gd name="T6" fmla="*/ 4007 w 4007"/>
                <a:gd name="T7" fmla="*/ 2373 h 2373"/>
                <a:gd name="T8" fmla="*/ 2357 w 4007"/>
                <a:gd name="T9" fmla="*/ 326 h 2373"/>
                <a:gd name="T10" fmla="*/ 95 w 4007"/>
                <a:gd name="T11" fmla="*/ 0 h 2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07" h="2373">
                  <a:moveTo>
                    <a:pt x="95" y="0"/>
                  </a:moveTo>
                  <a:lnTo>
                    <a:pt x="95" y="0"/>
                  </a:lnTo>
                  <a:lnTo>
                    <a:pt x="0" y="1629"/>
                  </a:lnTo>
                  <a:lnTo>
                    <a:pt x="4007" y="2373"/>
                  </a:lnTo>
                  <a:lnTo>
                    <a:pt x="2357" y="326"/>
                  </a:lnTo>
                  <a:lnTo>
                    <a:pt x="9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46" name="Freeform 36"/>
            <p:cNvSpPr>
              <a:spLocks noEditPoints="1"/>
            </p:cNvSpPr>
            <p:nvPr/>
          </p:nvSpPr>
          <p:spPr bwMode="auto">
            <a:xfrm>
              <a:off x="1109571" y="2942661"/>
              <a:ext cx="1753145" cy="1516617"/>
            </a:xfrm>
            <a:custGeom>
              <a:avLst/>
              <a:gdLst>
                <a:gd name="T0" fmla="*/ 3373 w 3454"/>
                <a:gd name="T1" fmla="*/ 1049 h 2988"/>
                <a:gd name="T2" fmla="*/ 3340 w 3454"/>
                <a:gd name="T3" fmla="*/ 1614 h 2988"/>
                <a:gd name="T4" fmla="*/ 21 w 3454"/>
                <a:gd name="T5" fmla="*/ 2957 h 2988"/>
                <a:gd name="T6" fmla="*/ 0 w 3454"/>
                <a:gd name="T7" fmla="*/ 2988 h 2988"/>
                <a:gd name="T8" fmla="*/ 3359 w 3454"/>
                <a:gd name="T9" fmla="*/ 1629 h 2988"/>
                <a:gd name="T10" fmla="*/ 3392 w 3454"/>
                <a:gd name="T11" fmla="*/ 1054 h 2988"/>
                <a:gd name="T12" fmla="*/ 3373 w 3454"/>
                <a:gd name="T13" fmla="*/ 1049 h 2988"/>
                <a:gd name="T14" fmla="*/ 3454 w 3454"/>
                <a:gd name="T15" fmla="*/ 0 h 2988"/>
                <a:gd name="T16" fmla="*/ 1671 w 3454"/>
                <a:gd name="T17" fmla="*/ 562 h 2988"/>
                <a:gd name="T18" fmla="*/ 1712 w 3454"/>
                <a:gd name="T19" fmla="*/ 572 h 2988"/>
                <a:gd name="T20" fmla="*/ 3430 w 3454"/>
                <a:gd name="T21" fmla="*/ 28 h 2988"/>
                <a:gd name="T22" fmla="*/ 3378 w 3454"/>
                <a:gd name="T23" fmla="*/ 964 h 2988"/>
                <a:gd name="T24" fmla="*/ 3397 w 3454"/>
                <a:gd name="T25" fmla="*/ 969 h 2988"/>
                <a:gd name="T26" fmla="*/ 3454 w 3454"/>
                <a:gd name="T27" fmla="*/ 0 h 2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454" h="2988">
                  <a:moveTo>
                    <a:pt x="3373" y="1049"/>
                  </a:moveTo>
                  <a:lnTo>
                    <a:pt x="3340" y="1614"/>
                  </a:lnTo>
                  <a:lnTo>
                    <a:pt x="21" y="2957"/>
                  </a:lnTo>
                  <a:lnTo>
                    <a:pt x="0" y="2988"/>
                  </a:lnTo>
                  <a:lnTo>
                    <a:pt x="3359" y="1629"/>
                  </a:lnTo>
                  <a:lnTo>
                    <a:pt x="3392" y="1054"/>
                  </a:lnTo>
                  <a:lnTo>
                    <a:pt x="3373" y="1049"/>
                  </a:lnTo>
                  <a:close/>
                  <a:moveTo>
                    <a:pt x="3454" y="0"/>
                  </a:moveTo>
                  <a:lnTo>
                    <a:pt x="1671" y="562"/>
                  </a:lnTo>
                  <a:lnTo>
                    <a:pt x="1712" y="572"/>
                  </a:lnTo>
                  <a:lnTo>
                    <a:pt x="3430" y="28"/>
                  </a:lnTo>
                  <a:lnTo>
                    <a:pt x="3378" y="964"/>
                  </a:lnTo>
                  <a:lnTo>
                    <a:pt x="3397" y="969"/>
                  </a:lnTo>
                  <a:lnTo>
                    <a:pt x="345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47" name="Freeform 37"/>
            <p:cNvSpPr>
              <a:spLocks noEditPoints="1"/>
            </p:cNvSpPr>
            <p:nvPr/>
          </p:nvSpPr>
          <p:spPr bwMode="auto">
            <a:xfrm>
              <a:off x="1109571" y="2942661"/>
              <a:ext cx="1753145" cy="1516617"/>
            </a:xfrm>
            <a:custGeom>
              <a:avLst/>
              <a:gdLst>
                <a:gd name="T0" fmla="*/ 3373 w 3454"/>
                <a:gd name="T1" fmla="*/ 1049 h 2988"/>
                <a:gd name="T2" fmla="*/ 3340 w 3454"/>
                <a:gd name="T3" fmla="*/ 1614 h 2988"/>
                <a:gd name="T4" fmla="*/ 21 w 3454"/>
                <a:gd name="T5" fmla="*/ 2957 h 2988"/>
                <a:gd name="T6" fmla="*/ 0 w 3454"/>
                <a:gd name="T7" fmla="*/ 2988 h 2988"/>
                <a:gd name="T8" fmla="*/ 3359 w 3454"/>
                <a:gd name="T9" fmla="*/ 1629 h 2988"/>
                <a:gd name="T10" fmla="*/ 3392 w 3454"/>
                <a:gd name="T11" fmla="*/ 1054 h 2988"/>
                <a:gd name="T12" fmla="*/ 3373 w 3454"/>
                <a:gd name="T13" fmla="*/ 1049 h 2988"/>
                <a:gd name="T14" fmla="*/ 3454 w 3454"/>
                <a:gd name="T15" fmla="*/ 0 h 2988"/>
                <a:gd name="T16" fmla="*/ 1671 w 3454"/>
                <a:gd name="T17" fmla="*/ 562 h 2988"/>
                <a:gd name="T18" fmla="*/ 1712 w 3454"/>
                <a:gd name="T19" fmla="*/ 572 h 2988"/>
                <a:gd name="T20" fmla="*/ 3430 w 3454"/>
                <a:gd name="T21" fmla="*/ 28 h 2988"/>
                <a:gd name="T22" fmla="*/ 3378 w 3454"/>
                <a:gd name="T23" fmla="*/ 964 h 2988"/>
                <a:gd name="T24" fmla="*/ 3397 w 3454"/>
                <a:gd name="T25" fmla="*/ 969 h 2988"/>
                <a:gd name="T26" fmla="*/ 3454 w 3454"/>
                <a:gd name="T27" fmla="*/ 0 h 2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454" h="2988">
                  <a:moveTo>
                    <a:pt x="3373" y="1049"/>
                  </a:moveTo>
                  <a:lnTo>
                    <a:pt x="3340" y="1614"/>
                  </a:lnTo>
                  <a:lnTo>
                    <a:pt x="21" y="2957"/>
                  </a:lnTo>
                  <a:lnTo>
                    <a:pt x="0" y="2988"/>
                  </a:lnTo>
                  <a:lnTo>
                    <a:pt x="3359" y="1629"/>
                  </a:lnTo>
                  <a:lnTo>
                    <a:pt x="3392" y="1054"/>
                  </a:lnTo>
                  <a:lnTo>
                    <a:pt x="3373" y="1049"/>
                  </a:lnTo>
                  <a:moveTo>
                    <a:pt x="3454" y="0"/>
                  </a:moveTo>
                  <a:lnTo>
                    <a:pt x="1671" y="562"/>
                  </a:lnTo>
                  <a:lnTo>
                    <a:pt x="1712" y="572"/>
                  </a:lnTo>
                  <a:lnTo>
                    <a:pt x="3430" y="28"/>
                  </a:lnTo>
                  <a:lnTo>
                    <a:pt x="3378" y="964"/>
                  </a:lnTo>
                  <a:lnTo>
                    <a:pt x="3397" y="969"/>
                  </a:lnTo>
                  <a:lnTo>
                    <a:pt x="345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54" name="Freeform 44"/>
            <p:cNvSpPr>
              <a:spLocks noEditPoints="1"/>
            </p:cNvSpPr>
            <p:nvPr/>
          </p:nvSpPr>
          <p:spPr bwMode="auto">
            <a:xfrm>
              <a:off x="2814497" y="2942661"/>
              <a:ext cx="2033831" cy="1204462"/>
            </a:xfrm>
            <a:custGeom>
              <a:avLst/>
              <a:gdLst>
                <a:gd name="T0" fmla="*/ 4007 w 4007"/>
                <a:gd name="T1" fmla="*/ 2373 h 2373"/>
                <a:gd name="T2" fmla="*/ 4007 w 4007"/>
                <a:gd name="T3" fmla="*/ 2373 h 2373"/>
                <a:gd name="T4" fmla="*/ 551 w 4007"/>
                <a:gd name="T5" fmla="*/ 1709 h 2373"/>
                <a:gd name="T6" fmla="*/ 553 w 4007"/>
                <a:gd name="T7" fmla="*/ 1730 h 2373"/>
                <a:gd name="T8" fmla="*/ 3943 w 4007"/>
                <a:gd name="T9" fmla="*/ 2361 h 2373"/>
                <a:gd name="T10" fmla="*/ 3945 w 4007"/>
                <a:gd name="T11" fmla="*/ 2361 h 2373"/>
                <a:gd name="T12" fmla="*/ 3926 w 4007"/>
                <a:gd name="T13" fmla="*/ 2335 h 2373"/>
                <a:gd name="T14" fmla="*/ 551 w 4007"/>
                <a:gd name="T15" fmla="*/ 1709 h 2373"/>
                <a:gd name="T16" fmla="*/ 33 w 4007"/>
                <a:gd name="T17" fmla="*/ 1054 h 2373"/>
                <a:gd name="T18" fmla="*/ 0 w 4007"/>
                <a:gd name="T19" fmla="*/ 1629 h 2373"/>
                <a:gd name="T20" fmla="*/ 468 w 4007"/>
                <a:gd name="T21" fmla="*/ 1716 h 2373"/>
                <a:gd name="T22" fmla="*/ 468 w 4007"/>
                <a:gd name="T23" fmla="*/ 1695 h 2373"/>
                <a:gd name="T24" fmla="*/ 24 w 4007"/>
                <a:gd name="T25" fmla="*/ 1612 h 2373"/>
                <a:gd name="T26" fmla="*/ 54 w 4007"/>
                <a:gd name="T27" fmla="*/ 1059 h 2373"/>
                <a:gd name="T28" fmla="*/ 33 w 4007"/>
                <a:gd name="T29" fmla="*/ 1054 h 2373"/>
                <a:gd name="T30" fmla="*/ 435 w 4007"/>
                <a:gd name="T31" fmla="*/ 49 h 2373"/>
                <a:gd name="T32" fmla="*/ 435 w 4007"/>
                <a:gd name="T33" fmla="*/ 71 h 2373"/>
                <a:gd name="T34" fmla="*/ 2239 w 4007"/>
                <a:gd name="T35" fmla="*/ 331 h 2373"/>
                <a:gd name="T36" fmla="*/ 2276 w 4007"/>
                <a:gd name="T37" fmla="*/ 314 h 2373"/>
                <a:gd name="T38" fmla="*/ 435 w 4007"/>
                <a:gd name="T39" fmla="*/ 49 h 2373"/>
                <a:gd name="T40" fmla="*/ 95 w 4007"/>
                <a:gd name="T41" fmla="*/ 0 h 2373"/>
                <a:gd name="T42" fmla="*/ 95 w 4007"/>
                <a:gd name="T43" fmla="*/ 0 h 2373"/>
                <a:gd name="T44" fmla="*/ 38 w 4007"/>
                <a:gd name="T45" fmla="*/ 969 h 2373"/>
                <a:gd name="T46" fmla="*/ 59 w 4007"/>
                <a:gd name="T47" fmla="*/ 974 h 2373"/>
                <a:gd name="T48" fmla="*/ 114 w 4007"/>
                <a:gd name="T49" fmla="*/ 23 h 2373"/>
                <a:gd name="T50" fmla="*/ 352 w 4007"/>
                <a:gd name="T51" fmla="*/ 57 h 2373"/>
                <a:gd name="T52" fmla="*/ 350 w 4007"/>
                <a:gd name="T53" fmla="*/ 38 h 2373"/>
                <a:gd name="T54" fmla="*/ 95 w 4007"/>
                <a:gd name="T55" fmla="*/ 0 h 2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007" h="2373">
                  <a:moveTo>
                    <a:pt x="4007" y="2373"/>
                  </a:moveTo>
                  <a:lnTo>
                    <a:pt x="4007" y="2373"/>
                  </a:lnTo>
                  <a:close/>
                  <a:moveTo>
                    <a:pt x="551" y="1709"/>
                  </a:moveTo>
                  <a:lnTo>
                    <a:pt x="553" y="1730"/>
                  </a:lnTo>
                  <a:lnTo>
                    <a:pt x="3943" y="2361"/>
                  </a:lnTo>
                  <a:lnTo>
                    <a:pt x="3945" y="2361"/>
                  </a:lnTo>
                  <a:lnTo>
                    <a:pt x="3926" y="2335"/>
                  </a:lnTo>
                  <a:lnTo>
                    <a:pt x="551" y="1709"/>
                  </a:lnTo>
                  <a:close/>
                  <a:moveTo>
                    <a:pt x="33" y="1054"/>
                  </a:moveTo>
                  <a:lnTo>
                    <a:pt x="0" y="1629"/>
                  </a:lnTo>
                  <a:lnTo>
                    <a:pt x="468" y="1716"/>
                  </a:lnTo>
                  <a:lnTo>
                    <a:pt x="468" y="1695"/>
                  </a:lnTo>
                  <a:lnTo>
                    <a:pt x="24" y="1612"/>
                  </a:lnTo>
                  <a:lnTo>
                    <a:pt x="54" y="1059"/>
                  </a:lnTo>
                  <a:lnTo>
                    <a:pt x="33" y="1054"/>
                  </a:lnTo>
                  <a:close/>
                  <a:moveTo>
                    <a:pt x="435" y="49"/>
                  </a:moveTo>
                  <a:lnTo>
                    <a:pt x="435" y="71"/>
                  </a:lnTo>
                  <a:lnTo>
                    <a:pt x="2239" y="331"/>
                  </a:lnTo>
                  <a:lnTo>
                    <a:pt x="2276" y="314"/>
                  </a:lnTo>
                  <a:lnTo>
                    <a:pt x="435" y="49"/>
                  </a:lnTo>
                  <a:close/>
                  <a:moveTo>
                    <a:pt x="95" y="0"/>
                  </a:moveTo>
                  <a:lnTo>
                    <a:pt x="95" y="0"/>
                  </a:lnTo>
                  <a:lnTo>
                    <a:pt x="38" y="969"/>
                  </a:lnTo>
                  <a:lnTo>
                    <a:pt x="59" y="974"/>
                  </a:lnTo>
                  <a:lnTo>
                    <a:pt x="114" y="23"/>
                  </a:lnTo>
                  <a:lnTo>
                    <a:pt x="352" y="57"/>
                  </a:lnTo>
                  <a:lnTo>
                    <a:pt x="350" y="38"/>
                  </a:lnTo>
                  <a:lnTo>
                    <a:pt x="9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55" name="Freeform 45"/>
            <p:cNvSpPr>
              <a:spLocks noEditPoints="1"/>
            </p:cNvSpPr>
            <p:nvPr/>
          </p:nvSpPr>
          <p:spPr bwMode="auto">
            <a:xfrm>
              <a:off x="2814497" y="2942661"/>
              <a:ext cx="2033831" cy="1204462"/>
            </a:xfrm>
            <a:custGeom>
              <a:avLst/>
              <a:gdLst>
                <a:gd name="T0" fmla="*/ 4007 w 4007"/>
                <a:gd name="T1" fmla="*/ 2373 h 2373"/>
                <a:gd name="T2" fmla="*/ 4007 w 4007"/>
                <a:gd name="T3" fmla="*/ 2373 h 2373"/>
                <a:gd name="T4" fmla="*/ 551 w 4007"/>
                <a:gd name="T5" fmla="*/ 1709 h 2373"/>
                <a:gd name="T6" fmla="*/ 553 w 4007"/>
                <a:gd name="T7" fmla="*/ 1730 h 2373"/>
                <a:gd name="T8" fmla="*/ 3943 w 4007"/>
                <a:gd name="T9" fmla="*/ 2361 h 2373"/>
                <a:gd name="T10" fmla="*/ 3945 w 4007"/>
                <a:gd name="T11" fmla="*/ 2361 h 2373"/>
                <a:gd name="T12" fmla="*/ 3926 w 4007"/>
                <a:gd name="T13" fmla="*/ 2335 h 2373"/>
                <a:gd name="T14" fmla="*/ 551 w 4007"/>
                <a:gd name="T15" fmla="*/ 1709 h 2373"/>
                <a:gd name="T16" fmla="*/ 33 w 4007"/>
                <a:gd name="T17" fmla="*/ 1054 h 2373"/>
                <a:gd name="T18" fmla="*/ 0 w 4007"/>
                <a:gd name="T19" fmla="*/ 1629 h 2373"/>
                <a:gd name="T20" fmla="*/ 468 w 4007"/>
                <a:gd name="T21" fmla="*/ 1716 h 2373"/>
                <a:gd name="T22" fmla="*/ 468 w 4007"/>
                <a:gd name="T23" fmla="*/ 1695 h 2373"/>
                <a:gd name="T24" fmla="*/ 24 w 4007"/>
                <a:gd name="T25" fmla="*/ 1612 h 2373"/>
                <a:gd name="T26" fmla="*/ 54 w 4007"/>
                <a:gd name="T27" fmla="*/ 1059 h 2373"/>
                <a:gd name="T28" fmla="*/ 33 w 4007"/>
                <a:gd name="T29" fmla="*/ 1054 h 2373"/>
                <a:gd name="T30" fmla="*/ 435 w 4007"/>
                <a:gd name="T31" fmla="*/ 49 h 2373"/>
                <a:gd name="T32" fmla="*/ 435 w 4007"/>
                <a:gd name="T33" fmla="*/ 71 h 2373"/>
                <a:gd name="T34" fmla="*/ 2239 w 4007"/>
                <a:gd name="T35" fmla="*/ 331 h 2373"/>
                <a:gd name="T36" fmla="*/ 2276 w 4007"/>
                <a:gd name="T37" fmla="*/ 314 h 2373"/>
                <a:gd name="T38" fmla="*/ 435 w 4007"/>
                <a:gd name="T39" fmla="*/ 49 h 2373"/>
                <a:gd name="T40" fmla="*/ 95 w 4007"/>
                <a:gd name="T41" fmla="*/ 0 h 2373"/>
                <a:gd name="T42" fmla="*/ 95 w 4007"/>
                <a:gd name="T43" fmla="*/ 0 h 2373"/>
                <a:gd name="T44" fmla="*/ 38 w 4007"/>
                <a:gd name="T45" fmla="*/ 969 h 2373"/>
                <a:gd name="T46" fmla="*/ 59 w 4007"/>
                <a:gd name="T47" fmla="*/ 974 h 2373"/>
                <a:gd name="T48" fmla="*/ 114 w 4007"/>
                <a:gd name="T49" fmla="*/ 23 h 2373"/>
                <a:gd name="T50" fmla="*/ 352 w 4007"/>
                <a:gd name="T51" fmla="*/ 57 h 2373"/>
                <a:gd name="T52" fmla="*/ 350 w 4007"/>
                <a:gd name="T53" fmla="*/ 38 h 2373"/>
                <a:gd name="T54" fmla="*/ 95 w 4007"/>
                <a:gd name="T55" fmla="*/ 0 h 2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007" h="2373">
                  <a:moveTo>
                    <a:pt x="4007" y="2373"/>
                  </a:moveTo>
                  <a:lnTo>
                    <a:pt x="4007" y="2373"/>
                  </a:lnTo>
                  <a:moveTo>
                    <a:pt x="551" y="1709"/>
                  </a:moveTo>
                  <a:lnTo>
                    <a:pt x="553" y="1730"/>
                  </a:lnTo>
                  <a:lnTo>
                    <a:pt x="3943" y="2361"/>
                  </a:lnTo>
                  <a:lnTo>
                    <a:pt x="3945" y="2361"/>
                  </a:lnTo>
                  <a:lnTo>
                    <a:pt x="3926" y="2335"/>
                  </a:lnTo>
                  <a:lnTo>
                    <a:pt x="551" y="1709"/>
                  </a:lnTo>
                  <a:moveTo>
                    <a:pt x="33" y="1054"/>
                  </a:moveTo>
                  <a:lnTo>
                    <a:pt x="0" y="1629"/>
                  </a:lnTo>
                  <a:lnTo>
                    <a:pt x="468" y="1716"/>
                  </a:lnTo>
                  <a:lnTo>
                    <a:pt x="468" y="1695"/>
                  </a:lnTo>
                  <a:lnTo>
                    <a:pt x="24" y="1612"/>
                  </a:lnTo>
                  <a:lnTo>
                    <a:pt x="54" y="1059"/>
                  </a:lnTo>
                  <a:lnTo>
                    <a:pt x="33" y="1054"/>
                  </a:lnTo>
                  <a:moveTo>
                    <a:pt x="435" y="49"/>
                  </a:moveTo>
                  <a:lnTo>
                    <a:pt x="435" y="71"/>
                  </a:lnTo>
                  <a:lnTo>
                    <a:pt x="2239" y="331"/>
                  </a:lnTo>
                  <a:lnTo>
                    <a:pt x="2276" y="314"/>
                  </a:lnTo>
                  <a:lnTo>
                    <a:pt x="435" y="49"/>
                  </a:lnTo>
                  <a:moveTo>
                    <a:pt x="95" y="0"/>
                  </a:moveTo>
                  <a:lnTo>
                    <a:pt x="95" y="0"/>
                  </a:lnTo>
                  <a:lnTo>
                    <a:pt x="38" y="969"/>
                  </a:lnTo>
                  <a:lnTo>
                    <a:pt x="59" y="974"/>
                  </a:lnTo>
                  <a:lnTo>
                    <a:pt x="114" y="23"/>
                  </a:lnTo>
                  <a:lnTo>
                    <a:pt x="352" y="57"/>
                  </a:lnTo>
                  <a:lnTo>
                    <a:pt x="350" y="38"/>
                  </a:lnTo>
                  <a:lnTo>
                    <a:pt x="9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62" name="Freeform 52"/>
            <p:cNvSpPr>
              <a:spLocks noEditPoints="1"/>
            </p:cNvSpPr>
            <p:nvPr/>
          </p:nvSpPr>
          <p:spPr bwMode="auto">
            <a:xfrm>
              <a:off x="1090284" y="3246188"/>
              <a:ext cx="2073421" cy="1834356"/>
            </a:xfrm>
            <a:custGeom>
              <a:avLst/>
              <a:gdLst>
                <a:gd name="T0" fmla="*/ 3964 w 4085"/>
                <a:gd name="T1" fmla="*/ 2494 h 3614"/>
                <a:gd name="T2" fmla="*/ 4040 w 4085"/>
                <a:gd name="T3" fmla="*/ 3560 h 3614"/>
                <a:gd name="T4" fmla="*/ 2005 w 4085"/>
                <a:gd name="T5" fmla="*/ 2967 h 3614"/>
                <a:gd name="T6" fmla="*/ 1948 w 4085"/>
                <a:gd name="T7" fmla="*/ 2995 h 3614"/>
                <a:gd name="T8" fmla="*/ 4085 w 4085"/>
                <a:gd name="T9" fmla="*/ 3614 h 3614"/>
                <a:gd name="T10" fmla="*/ 4005 w 4085"/>
                <a:gd name="T11" fmla="*/ 2503 h 3614"/>
                <a:gd name="T12" fmla="*/ 3964 w 4085"/>
                <a:gd name="T13" fmla="*/ 2494 h 3614"/>
                <a:gd name="T14" fmla="*/ 62 w 4085"/>
                <a:gd name="T15" fmla="*/ 2404 h 3614"/>
                <a:gd name="T16" fmla="*/ 0 w 4085"/>
                <a:gd name="T17" fmla="*/ 2428 h 3614"/>
                <a:gd name="T18" fmla="*/ 1917 w 4085"/>
                <a:gd name="T19" fmla="*/ 2986 h 3614"/>
                <a:gd name="T20" fmla="*/ 1974 w 4085"/>
                <a:gd name="T21" fmla="*/ 2960 h 3614"/>
                <a:gd name="T22" fmla="*/ 62 w 4085"/>
                <a:gd name="T23" fmla="*/ 2404 h 3614"/>
                <a:gd name="T24" fmla="*/ 3867 w 4085"/>
                <a:gd name="T25" fmla="*/ 1139 h 3614"/>
                <a:gd name="T26" fmla="*/ 3962 w 4085"/>
                <a:gd name="T27" fmla="*/ 2473 h 3614"/>
                <a:gd name="T28" fmla="*/ 4005 w 4085"/>
                <a:gd name="T29" fmla="*/ 2482 h 3614"/>
                <a:gd name="T30" fmla="*/ 3910 w 4085"/>
                <a:gd name="T31" fmla="*/ 1146 h 3614"/>
                <a:gd name="T32" fmla="*/ 3867 w 4085"/>
                <a:gd name="T33" fmla="*/ 1139 h 3614"/>
                <a:gd name="T34" fmla="*/ 3454 w 4085"/>
                <a:gd name="T35" fmla="*/ 418 h 3614"/>
                <a:gd name="T36" fmla="*/ 3451 w 4085"/>
                <a:gd name="T37" fmla="*/ 461 h 3614"/>
                <a:gd name="T38" fmla="*/ 3825 w 4085"/>
                <a:gd name="T39" fmla="*/ 548 h 3614"/>
                <a:gd name="T40" fmla="*/ 3865 w 4085"/>
                <a:gd name="T41" fmla="*/ 1097 h 3614"/>
                <a:gd name="T42" fmla="*/ 3908 w 4085"/>
                <a:gd name="T43" fmla="*/ 1104 h 3614"/>
                <a:gd name="T44" fmla="*/ 3865 w 4085"/>
                <a:gd name="T45" fmla="*/ 515 h 3614"/>
                <a:gd name="T46" fmla="*/ 3454 w 4085"/>
                <a:gd name="T47" fmla="*/ 418 h 3614"/>
                <a:gd name="T48" fmla="*/ 1672 w 4085"/>
                <a:gd name="T49" fmla="*/ 0 h 3614"/>
                <a:gd name="T50" fmla="*/ 1646 w 4085"/>
                <a:gd name="T51" fmla="*/ 7 h 3614"/>
                <a:gd name="T52" fmla="*/ 24 w 4085"/>
                <a:gd name="T53" fmla="*/ 2373 h 3614"/>
                <a:gd name="T54" fmla="*/ 59 w 4085"/>
                <a:gd name="T55" fmla="*/ 2359 h 3614"/>
                <a:gd name="T56" fmla="*/ 1650 w 4085"/>
                <a:gd name="T57" fmla="*/ 35 h 3614"/>
                <a:gd name="T58" fmla="*/ 3411 w 4085"/>
                <a:gd name="T59" fmla="*/ 451 h 3614"/>
                <a:gd name="T60" fmla="*/ 3414 w 4085"/>
                <a:gd name="T61" fmla="*/ 409 h 3614"/>
                <a:gd name="T62" fmla="*/ 1672 w 4085"/>
                <a:gd name="T63" fmla="*/ 0 h 3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085" h="3614">
                  <a:moveTo>
                    <a:pt x="3964" y="2494"/>
                  </a:moveTo>
                  <a:lnTo>
                    <a:pt x="4040" y="3560"/>
                  </a:lnTo>
                  <a:lnTo>
                    <a:pt x="2005" y="2967"/>
                  </a:lnTo>
                  <a:lnTo>
                    <a:pt x="1948" y="2995"/>
                  </a:lnTo>
                  <a:lnTo>
                    <a:pt x="4085" y="3614"/>
                  </a:lnTo>
                  <a:lnTo>
                    <a:pt x="4005" y="2503"/>
                  </a:lnTo>
                  <a:lnTo>
                    <a:pt x="3964" y="2494"/>
                  </a:lnTo>
                  <a:close/>
                  <a:moveTo>
                    <a:pt x="62" y="2404"/>
                  </a:moveTo>
                  <a:lnTo>
                    <a:pt x="0" y="2428"/>
                  </a:lnTo>
                  <a:lnTo>
                    <a:pt x="1917" y="2986"/>
                  </a:lnTo>
                  <a:lnTo>
                    <a:pt x="1974" y="2960"/>
                  </a:lnTo>
                  <a:lnTo>
                    <a:pt x="62" y="2404"/>
                  </a:lnTo>
                  <a:close/>
                  <a:moveTo>
                    <a:pt x="3867" y="1139"/>
                  </a:moveTo>
                  <a:lnTo>
                    <a:pt x="3962" y="2473"/>
                  </a:lnTo>
                  <a:lnTo>
                    <a:pt x="4005" y="2482"/>
                  </a:lnTo>
                  <a:lnTo>
                    <a:pt x="3910" y="1146"/>
                  </a:lnTo>
                  <a:lnTo>
                    <a:pt x="3867" y="1139"/>
                  </a:lnTo>
                  <a:close/>
                  <a:moveTo>
                    <a:pt x="3454" y="418"/>
                  </a:moveTo>
                  <a:lnTo>
                    <a:pt x="3451" y="461"/>
                  </a:lnTo>
                  <a:lnTo>
                    <a:pt x="3825" y="548"/>
                  </a:lnTo>
                  <a:lnTo>
                    <a:pt x="3865" y="1097"/>
                  </a:lnTo>
                  <a:lnTo>
                    <a:pt x="3908" y="1104"/>
                  </a:lnTo>
                  <a:lnTo>
                    <a:pt x="3865" y="515"/>
                  </a:lnTo>
                  <a:lnTo>
                    <a:pt x="3454" y="418"/>
                  </a:lnTo>
                  <a:close/>
                  <a:moveTo>
                    <a:pt x="1672" y="0"/>
                  </a:moveTo>
                  <a:lnTo>
                    <a:pt x="1646" y="7"/>
                  </a:lnTo>
                  <a:lnTo>
                    <a:pt x="24" y="2373"/>
                  </a:lnTo>
                  <a:lnTo>
                    <a:pt x="59" y="2359"/>
                  </a:lnTo>
                  <a:lnTo>
                    <a:pt x="1650" y="35"/>
                  </a:lnTo>
                  <a:lnTo>
                    <a:pt x="3411" y="451"/>
                  </a:lnTo>
                  <a:lnTo>
                    <a:pt x="3414" y="409"/>
                  </a:lnTo>
                  <a:lnTo>
                    <a:pt x="167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63" name="Freeform 53"/>
            <p:cNvSpPr>
              <a:spLocks noEditPoints="1"/>
            </p:cNvSpPr>
            <p:nvPr/>
          </p:nvSpPr>
          <p:spPr bwMode="auto">
            <a:xfrm>
              <a:off x="1090284" y="3246188"/>
              <a:ext cx="2073421" cy="1834356"/>
            </a:xfrm>
            <a:custGeom>
              <a:avLst/>
              <a:gdLst>
                <a:gd name="T0" fmla="*/ 3964 w 4085"/>
                <a:gd name="T1" fmla="*/ 2494 h 3614"/>
                <a:gd name="T2" fmla="*/ 4040 w 4085"/>
                <a:gd name="T3" fmla="*/ 3560 h 3614"/>
                <a:gd name="T4" fmla="*/ 2005 w 4085"/>
                <a:gd name="T5" fmla="*/ 2967 h 3614"/>
                <a:gd name="T6" fmla="*/ 1948 w 4085"/>
                <a:gd name="T7" fmla="*/ 2995 h 3614"/>
                <a:gd name="T8" fmla="*/ 4085 w 4085"/>
                <a:gd name="T9" fmla="*/ 3614 h 3614"/>
                <a:gd name="T10" fmla="*/ 4005 w 4085"/>
                <a:gd name="T11" fmla="*/ 2503 h 3614"/>
                <a:gd name="T12" fmla="*/ 3964 w 4085"/>
                <a:gd name="T13" fmla="*/ 2494 h 3614"/>
                <a:gd name="T14" fmla="*/ 62 w 4085"/>
                <a:gd name="T15" fmla="*/ 2404 h 3614"/>
                <a:gd name="T16" fmla="*/ 0 w 4085"/>
                <a:gd name="T17" fmla="*/ 2428 h 3614"/>
                <a:gd name="T18" fmla="*/ 1917 w 4085"/>
                <a:gd name="T19" fmla="*/ 2986 h 3614"/>
                <a:gd name="T20" fmla="*/ 1974 w 4085"/>
                <a:gd name="T21" fmla="*/ 2960 h 3614"/>
                <a:gd name="T22" fmla="*/ 62 w 4085"/>
                <a:gd name="T23" fmla="*/ 2404 h 3614"/>
                <a:gd name="T24" fmla="*/ 3867 w 4085"/>
                <a:gd name="T25" fmla="*/ 1139 h 3614"/>
                <a:gd name="T26" fmla="*/ 3962 w 4085"/>
                <a:gd name="T27" fmla="*/ 2473 h 3614"/>
                <a:gd name="T28" fmla="*/ 4005 w 4085"/>
                <a:gd name="T29" fmla="*/ 2482 h 3614"/>
                <a:gd name="T30" fmla="*/ 3910 w 4085"/>
                <a:gd name="T31" fmla="*/ 1146 h 3614"/>
                <a:gd name="T32" fmla="*/ 3867 w 4085"/>
                <a:gd name="T33" fmla="*/ 1139 h 3614"/>
                <a:gd name="T34" fmla="*/ 3454 w 4085"/>
                <a:gd name="T35" fmla="*/ 418 h 3614"/>
                <a:gd name="T36" fmla="*/ 3451 w 4085"/>
                <a:gd name="T37" fmla="*/ 461 h 3614"/>
                <a:gd name="T38" fmla="*/ 3825 w 4085"/>
                <a:gd name="T39" fmla="*/ 548 h 3614"/>
                <a:gd name="T40" fmla="*/ 3865 w 4085"/>
                <a:gd name="T41" fmla="*/ 1097 h 3614"/>
                <a:gd name="T42" fmla="*/ 3908 w 4085"/>
                <a:gd name="T43" fmla="*/ 1104 h 3614"/>
                <a:gd name="T44" fmla="*/ 3865 w 4085"/>
                <a:gd name="T45" fmla="*/ 515 h 3614"/>
                <a:gd name="T46" fmla="*/ 3454 w 4085"/>
                <a:gd name="T47" fmla="*/ 418 h 3614"/>
                <a:gd name="T48" fmla="*/ 1672 w 4085"/>
                <a:gd name="T49" fmla="*/ 0 h 3614"/>
                <a:gd name="T50" fmla="*/ 1646 w 4085"/>
                <a:gd name="T51" fmla="*/ 7 h 3614"/>
                <a:gd name="T52" fmla="*/ 24 w 4085"/>
                <a:gd name="T53" fmla="*/ 2373 h 3614"/>
                <a:gd name="T54" fmla="*/ 59 w 4085"/>
                <a:gd name="T55" fmla="*/ 2359 h 3614"/>
                <a:gd name="T56" fmla="*/ 1650 w 4085"/>
                <a:gd name="T57" fmla="*/ 35 h 3614"/>
                <a:gd name="T58" fmla="*/ 3411 w 4085"/>
                <a:gd name="T59" fmla="*/ 451 h 3614"/>
                <a:gd name="T60" fmla="*/ 3414 w 4085"/>
                <a:gd name="T61" fmla="*/ 409 h 3614"/>
                <a:gd name="T62" fmla="*/ 1672 w 4085"/>
                <a:gd name="T63" fmla="*/ 0 h 3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085" h="3614">
                  <a:moveTo>
                    <a:pt x="3964" y="2494"/>
                  </a:moveTo>
                  <a:lnTo>
                    <a:pt x="4040" y="3560"/>
                  </a:lnTo>
                  <a:lnTo>
                    <a:pt x="2005" y="2967"/>
                  </a:lnTo>
                  <a:lnTo>
                    <a:pt x="1948" y="2995"/>
                  </a:lnTo>
                  <a:lnTo>
                    <a:pt x="4085" y="3614"/>
                  </a:lnTo>
                  <a:lnTo>
                    <a:pt x="4005" y="2503"/>
                  </a:lnTo>
                  <a:lnTo>
                    <a:pt x="3964" y="2494"/>
                  </a:lnTo>
                  <a:moveTo>
                    <a:pt x="62" y="2404"/>
                  </a:moveTo>
                  <a:lnTo>
                    <a:pt x="0" y="2428"/>
                  </a:lnTo>
                  <a:lnTo>
                    <a:pt x="1917" y="2986"/>
                  </a:lnTo>
                  <a:lnTo>
                    <a:pt x="1974" y="2960"/>
                  </a:lnTo>
                  <a:lnTo>
                    <a:pt x="62" y="2404"/>
                  </a:lnTo>
                  <a:moveTo>
                    <a:pt x="3867" y="1139"/>
                  </a:moveTo>
                  <a:lnTo>
                    <a:pt x="3962" y="2473"/>
                  </a:lnTo>
                  <a:lnTo>
                    <a:pt x="4005" y="2482"/>
                  </a:lnTo>
                  <a:lnTo>
                    <a:pt x="3910" y="1146"/>
                  </a:lnTo>
                  <a:lnTo>
                    <a:pt x="3867" y="1139"/>
                  </a:lnTo>
                  <a:moveTo>
                    <a:pt x="3454" y="418"/>
                  </a:moveTo>
                  <a:lnTo>
                    <a:pt x="3451" y="461"/>
                  </a:lnTo>
                  <a:lnTo>
                    <a:pt x="3825" y="548"/>
                  </a:lnTo>
                  <a:lnTo>
                    <a:pt x="3865" y="1097"/>
                  </a:lnTo>
                  <a:lnTo>
                    <a:pt x="3908" y="1104"/>
                  </a:lnTo>
                  <a:lnTo>
                    <a:pt x="3865" y="515"/>
                  </a:lnTo>
                  <a:lnTo>
                    <a:pt x="3454" y="418"/>
                  </a:lnTo>
                  <a:moveTo>
                    <a:pt x="1672" y="0"/>
                  </a:moveTo>
                  <a:lnTo>
                    <a:pt x="1646" y="7"/>
                  </a:lnTo>
                  <a:lnTo>
                    <a:pt x="24" y="2373"/>
                  </a:lnTo>
                  <a:lnTo>
                    <a:pt x="59" y="2359"/>
                  </a:lnTo>
                  <a:lnTo>
                    <a:pt x="1650" y="35"/>
                  </a:lnTo>
                  <a:lnTo>
                    <a:pt x="3411" y="451"/>
                  </a:lnTo>
                  <a:lnTo>
                    <a:pt x="3414" y="409"/>
                  </a:lnTo>
                  <a:lnTo>
                    <a:pt x="167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64" name="Freeform 54"/>
            <p:cNvSpPr>
              <a:spLocks noEditPoints="1"/>
            </p:cNvSpPr>
            <p:nvPr/>
          </p:nvSpPr>
          <p:spPr bwMode="auto">
            <a:xfrm>
              <a:off x="1073534" y="3241112"/>
              <a:ext cx="1759236" cy="1232378"/>
            </a:xfrm>
            <a:custGeom>
              <a:avLst/>
              <a:gdLst>
                <a:gd name="T0" fmla="*/ 3447 w 3466"/>
                <a:gd name="T1" fmla="*/ 419 h 2428"/>
                <a:gd name="T2" fmla="*/ 3444 w 3466"/>
                <a:gd name="T3" fmla="*/ 461 h 2428"/>
                <a:gd name="T4" fmla="*/ 3463 w 3466"/>
                <a:gd name="T5" fmla="*/ 466 h 2428"/>
                <a:gd name="T6" fmla="*/ 3466 w 3466"/>
                <a:gd name="T7" fmla="*/ 424 h 2428"/>
                <a:gd name="T8" fmla="*/ 3447 w 3466"/>
                <a:gd name="T9" fmla="*/ 419 h 2428"/>
                <a:gd name="T10" fmla="*/ 1667 w 3466"/>
                <a:gd name="T11" fmla="*/ 0 h 2428"/>
                <a:gd name="T12" fmla="*/ 1667 w 3466"/>
                <a:gd name="T13" fmla="*/ 0 h 2428"/>
                <a:gd name="T14" fmla="*/ 0 w 3466"/>
                <a:gd name="T15" fmla="*/ 2428 h 2428"/>
                <a:gd name="T16" fmla="*/ 71 w 3466"/>
                <a:gd name="T17" fmla="*/ 2400 h 2428"/>
                <a:gd name="T18" fmla="*/ 92 w 3466"/>
                <a:gd name="T19" fmla="*/ 2369 h 2428"/>
                <a:gd name="T20" fmla="*/ 57 w 3466"/>
                <a:gd name="T21" fmla="*/ 2383 h 2428"/>
                <a:gd name="T22" fmla="*/ 1679 w 3466"/>
                <a:gd name="T23" fmla="*/ 17 h 2428"/>
                <a:gd name="T24" fmla="*/ 1705 w 3466"/>
                <a:gd name="T25" fmla="*/ 10 h 2428"/>
                <a:gd name="T26" fmla="*/ 1667 w 3466"/>
                <a:gd name="T27" fmla="*/ 0 h 2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466" h="2428">
                  <a:moveTo>
                    <a:pt x="3447" y="419"/>
                  </a:moveTo>
                  <a:lnTo>
                    <a:pt x="3444" y="461"/>
                  </a:lnTo>
                  <a:lnTo>
                    <a:pt x="3463" y="466"/>
                  </a:lnTo>
                  <a:lnTo>
                    <a:pt x="3466" y="424"/>
                  </a:lnTo>
                  <a:lnTo>
                    <a:pt x="3447" y="419"/>
                  </a:lnTo>
                  <a:close/>
                  <a:moveTo>
                    <a:pt x="1667" y="0"/>
                  </a:moveTo>
                  <a:lnTo>
                    <a:pt x="1667" y="0"/>
                  </a:lnTo>
                  <a:lnTo>
                    <a:pt x="0" y="2428"/>
                  </a:lnTo>
                  <a:lnTo>
                    <a:pt x="71" y="2400"/>
                  </a:lnTo>
                  <a:lnTo>
                    <a:pt x="92" y="2369"/>
                  </a:lnTo>
                  <a:lnTo>
                    <a:pt x="57" y="2383"/>
                  </a:lnTo>
                  <a:lnTo>
                    <a:pt x="1679" y="17"/>
                  </a:lnTo>
                  <a:lnTo>
                    <a:pt x="1705" y="10"/>
                  </a:lnTo>
                  <a:lnTo>
                    <a:pt x="16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65" name="Freeform 55"/>
            <p:cNvSpPr>
              <a:spLocks noEditPoints="1"/>
            </p:cNvSpPr>
            <p:nvPr/>
          </p:nvSpPr>
          <p:spPr bwMode="auto">
            <a:xfrm>
              <a:off x="1073534" y="3241112"/>
              <a:ext cx="1759236" cy="1232378"/>
            </a:xfrm>
            <a:custGeom>
              <a:avLst/>
              <a:gdLst>
                <a:gd name="T0" fmla="*/ 3447 w 3466"/>
                <a:gd name="T1" fmla="*/ 419 h 2428"/>
                <a:gd name="T2" fmla="*/ 3444 w 3466"/>
                <a:gd name="T3" fmla="*/ 461 h 2428"/>
                <a:gd name="T4" fmla="*/ 3463 w 3466"/>
                <a:gd name="T5" fmla="*/ 466 h 2428"/>
                <a:gd name="T6" fmla="*/ 3466 w 3466"/>
                <a:gd name="T7" fmla="*/ 424 h 2428"/>
                <a:gd name="T8" fmla="*/ 3447 w 3466"/>
                <a:gd name="T9" fmla="*/ 419 h 2428"/>
                <a:gd name="T10" fmla="*/ 1667 w 3466"/>
                <a:gd name="T11" fmla="*/ 0 h 2428"/>
                <a:gd name="T12" fmla="*/ 1667 w 3466"/>
                <a:gd name="T13" fmla="*/ 0 h 2428"/>
                <a:gd name="T14" fmla="*/ 0 w 3466"/>
                <a:gd name="T15" fmla="*/ 2428 h 2428"/>
                <a:gd name="T16" fmla="*/ 71 w 3466"/>
                <a:gd name="T17" fmla="*/ 2400 h 2428"/>
                <a:gd name="T18" fmla="*/ 92 w 3466"/>
                <a:gd name="T19" fmla="*/ 2369 h 2428"/>
                <a:gd name="T20" fmla="*/ 57 w 3466"/>
                <a:gd name="T21" fmla="*/ 2383 h 2428"/>
                <a:gd name="T22" fmla="*/ 1679 w 3466"/>
                <a:gd name="T23" fmla="*/ 17 h 2428"/>
                <a:gd name="T24" fmla="*/ 1705 w 3466"/>
                <a:gd name="T25" fmla="*/ 10 h 2428"/>
                <a:gd name="T26" fmla="*/ 1667 w 3466"/>
                <a:gd name="T27" fmla="*/ 0 h 2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466" h="2428">
                  <a:moveTo>
                    <a:pt x="3447" y="419"/>
                  </a:moveTo>
                  <a:lnTo>
                    <a:pt x="3444" y="461"/>
                  </a:lnTo>
                  <a:lnTo>
                    <a:pt x="3463" y="466"/>
                  </a:lnTo>
                  <a:lnTo>
                    <a:pt x="3466" y="424"/>
                  </a:lnTo>
                  <a:lnTo>
                    <a:pt x="3447" y="419"/>
                  </a:lnTo>
                  <a:moveTo>
                    <a:pt x="1667" y="0"/>
                  </a:moveTo>
                  <a:lnTo>
                    <a:pt x="1667" y="0"/>
                  </a:lnTo>
                  <a:lnTo>
                    <a:pt x="0" y="2428"/>
                  </a:lnTo>
                  <a:lnTo>
                    <a:pt x="71" y="2400"/>
                  </a:lnTo>
                  <a:lnTo>
                    <a:pt x="92" y="2369"/>
                  </a:lnTo>
                  <a:lnTo>
                    <a:pt x="57" y="2383"/>
                  </a:lnTo>
                  <a:lnTo>
                    <a:pt x="1679" y="17"/>
                  </a:lnTo>
                  <a:lnTo>
                    <a:pt x="1705" y="10"/>
                  </a:lnTo>
                  <a:lnTo>
                    <a:pt x="166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70" name="Freeform 60"/>
            <p:cNvSpPr>
              <a:spLocks noEditPoints="1"/>
            </p:cNvSpPr>
            <p:nvPr/>
          </p:nvSpPr>
          <p:spPr bwMode="auto">
            <a:xfrm>
              <a:off x="2831247" y="3456321"/>
              <a:ext cx="242618" cy="360882"/>
            </a:xfrm>
            <a:custGeom>
              <a:avLst/>
              <a:gdLst>
                <a:gd name="T0" fmla="*/ 435 w 478"/>
                <a:gd name="T1" fmla="*/ 683 h 711"/>
                <a:gd name="T2" fmla="*/ 435 w 478"/>
                <a:gd name="T3" fmla="*/ 704 h 711"/>
                <a:gd name="T4" fmla="*/ 478 w 478"/>
                <a:gd name="T5" fmla="*/ 711 h 711"/>
                <a:gd name="T6" fmla="*/ 478 w 478"/>
                <a:gd name="T7" fmla="*/ 690 h 711"/>
                <a:gd name="T8" fmla="*/ 435 w 478"/>
                <a:gd name="T9" fmla="*/ 683 h 711"/>
                <a:gd name="T10" fmla="*/ 3 w 478"/>
                <a:gd name="T11" fmla="*/ 0 h 711"/>
                <a:gd name="T12" fmla="*/ 0 w 478"/>
                <a:gd name="T13" fmla="*/ 42 h 711"/>
                <a:gd name="T14" fmla="*/ 21 w 478"/>
                <a:gd name="T15" fmla="*/ 47 h 711"/>
                <a:gd name="T16" fmla="*/ 24 w 478"/>
                <a:gd name="T17" fmla="*/ 4 h 711"/>
                <a:gd name="T18" fmla="*/ 3 w 478"/>
                <a:gd name="T19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8" h="711">
                  <a:moveTo>
                    <a:pt x="435" y="683"/>
                  </a:moveTo>
                  <a:lnTo>
                    <a:pt x="435" y="704"/>
                  </a:lnTo>
                  <a:lnTo>
                    <a:pt x="478" y="711"/>
                  </a:lnTo>
                  <a:lnTo>
                    <a:pt x="478" y="690"/>
                  </a:lnTo>
                  <a:lnTo>
                    <a:pt x="435" y="683"/>
                  </a:lnTo>
                  <a:close/>
                  <a:moveTo>
                    <a:pt x="3" y="0"/>
                  </a:moveTo>
                  <a:lnTo>
                    <a:pt x="0" y="42"/>
                  </a:lnTo>
                  <a:lnTo>
                    <a:pt x="21" y="47"/>
                  </a:lnTo>
                  <a:lnTo>
                    <a:pt x="24" y="4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71" name="Freeform 61"/>
            <p:cNvSpPr>
              <a:spLocks noEditPoints="1"/>
            </p:cNvSpPr>
            <p:nvPr/>
          </p:nvSpPr>
          <p:spPr bwMode="auto">
            <a:xfrm>
              <a:off x="2831247" y="3456321"/>
              <a:ext cx="242618" cy="360882"/>
            </a:xfrm>
            <a:custGeom>
              <a:avLst/>
              <a:gdLst>
                <a:gd name="T0" fmla="*/ 435 w 478"/>
                <a:gd name="T1" fmla="*/ 683 h 711"/>
                <a:gd name="T2" fmla="*/ 435 w 478"/>
                <a:gd name="T3" fmla="*/ 704 h 711"/>
                <a:gd name="T4" fmla="*/ 478 w 478"/>
                <a:gd name="T5" fmla="*/ 711 h 711"/>
                <a:gd name="T6" fmla="*/ 478 w 478"/>
                <a:gd name="T7" fmla="*/ 690 h 711"/>
                <a:gd name="T8" fmla="*/ 435 w 478"/>
                <a:gd name="T9" fmla="*/ 683 h 711"/>
                <a:gd name="T10" fmla="*/ 3 w 478"/>
                <a:gd name="T11" fmla="*/ 0 h 711"/>
                <a:gd name="T12" fmla="*/ 0 w 478"/>
                <a:gd name="T13" fmla="*/ 42 h 711"/>
                <a:gd name="T14" fmla="*/ 21 w 478"/>
                <a:gd name="T15" fmla="*/ 47 h 711"/>
                <a:gd name="T16" fmla="*/ 24 w 478"/>
                <a:gd name="T17" fmla="*/ 4 h 711"/>
                <a:gd name="T18" fmla="*/ 3 w 478"/>
                <a:gd name="T19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8" h="711">
                  <a:moveTo>
                    <a:pt x="435" y="683"/>
                  </a:moveTo>
                  <a:lnTo>
                    <a:pt x="435" y="704"/>
                  </a:lnTo>
                  <a:lnTo>
                    <a:pt x="478" y="711"/>
                  </a:lnTo>
                  <a:lnTo>
                    <a:pt x="478" y="690"/>
                  </a:lnTo>
                  <a:lnTo>
                    <a:pt x="435" y="683"/>
                  </a:lnTo>
                  <a:moveTo>
                    <a:pt x="3" y="0"/>
                  </a:moveTo>
                  <a:lnTo>
                    <a:pt x="0" y="42"/>
                  </a:lnTo>
                  <a:lnTo>
                    <a:pt x="21" y="47"/>
                  </a:lnTo>
                  <a:lnTo>
                    <a:pt x="24" y="4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86" name="Freeform 76"/>
            <p:cNvSpPr>
              <a:spLocks noEditPoints="1"/>
            </p:cNvSpPr>
            <p:nvPr/>
          </p:nvSpPr>
          <p:spPr bwMode="auto">
            <a:xfrm>
              <a:off x="3052039" y="3116757"/>
              <a:ext cx="1781569" cy="1963786"/>
            </a:xfrm>
            <a:custGeom>
              <a:avLst/>
              <a:gdLst>
                <a:gd name="T0" fmla="*/ 140 w 3510"/>
                <a:gd name="T1" fmla="*/ 2758 h 3869"/>
                <a:gd name="T2" fmla="*/ 220 w 3510"/>
                <a:gd name="T3" fmla="*/ 3869 h 3869"/>
                <a:gd name="T4" fmla="*/ 1655 w 3510"/>
                <a:gd name="T5" fmla="*/ 3075 h 3869"/>
                <a:gd name="T6" fmla="*/ 1593 w 3510"/>
                <a:gd name="T7" fmla="*/ 3061 h 3869"/>
                <a:gd name="T8" fmla="*/ 255 w 3510"/>
                <a:gd name="T9" fmla="*/ 3803 h 3869"/>
                <a:gd name="T10" fmla="*/ 182 w 3510"/>
                <a:gd name="T11" fmla="*/ 2765 h 3869"/>
                <a:gd name="T12" fmla="*/ 140 w 3510"/>
                <a:gd name="T13" fmla="*/ 2758 h 3869"/>
                <a:gd name="T14" fmla="*/ 3447 w 3510"/>
                <a:gd name="T15" fmla="*/ 2033 h 3869"/>
                <a:gd name="T16" fmla="*/ 1622 w 3510"/>
                <a:gd name="T17" fmla="*/ 3047 h 3869"/>
                <a:gd name="T18" fmla="*/ 1683 w 3510"/>
                <a:gd name="T19" fmla="*/ 3059 h 3869"/>
                <a:gd name="T20" fmla="*/ 3510 w 3510"/>
                <a:gd name="T21" fmla="*/ 2044 h 3869"/>
                <a:gd name="T22" fmla="*/ 3447 w 3510"/>
                <a:gd name="T23" fmla="*/ 2033 h 3869"/>
                <a:gd name="T24" fmla="*/ 45 w 3510"/>
                <a:gd name="T25" fmla="*/ 1401 h 3869"/>
                <a:gd name="T26" fmla="*/ 140 w 3510"/>
                <a:gd name="T27" fmla="*/ 2737 h 3869"/>
                <a:gd name="T28" fmla="*/ 182 w 3510"/>
                <a:gd name="T29" fmla="*/ 2744 h 3869"/>
                <a:gd name="T30" fmla="*/ 88 w 3510"/>
                <a:gd name="T31" fmla="*/ 1409 h 3869"/>
                <a:gd name="T32" fmla="*/ 45 w 3510"/>
                <a:gd name="T33" fmla="*/ 1401 h 3869"/>
                <a:gd name="T34" fmla="*/ 1851 w 3510"/>
                <a:gd name="T35" fmla="*/ 0 h 3869"/>
                <a:gd name="T36" fmla="*/ 0 w 3510"/>
                <a:gd name="T37" fmla="*/ 770 h 3869"/>
                <a:gd name="T38" fmla="*/ 43 w 3510"/>
                <a:gd name="T39" fmla="*/ 1359 h 3869"/>
                <a:gd name="T40" fmla="*/ 83 w 3510"/>
                <a:gd name="T41" fmla="*/ 1366 h 3869"/>
                <a:gd name="T42" fmla="*/ 43 w 3510"/>
                <a:gd name="T43" fmla="*/ 796 h 3869"/>
                <a:gd name="T44" fmla="*/ 1877 w 3510"/>
                <a:gd name="T45" fmla="*/ 33 h 3869"/>
                <a:gd name="T46" fmla="*/ 3458 w 3510"/>
                <a:gd name="T47" fmla="*/ 1992 h 3869"/>
                <a:gd name="T48" fmla="*/ 3489 w 3510"/>
                <a:gd name="T49" fmla="*/ 2000 h 3869"/>
                <a:gd name="T50" fmla="*/ 1877 w 3510"/>
                <a:gd name="T51" fmla="*/ 2 h 3869"/>
                <a:gd name="T52" fmla="*/ 1851 w 3510"/>
                <a:gd name="T53" fmla="*/ 0 h 3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510" h="3869">
                  <a:moveTo>
                    <a:pt x="140" y="2758"/>
                  </a:moveTo>
                  <a:lnTo>
                    <a:pt x="220" y="3869"/>
                  </a:lnTo>
                  <a:lnTo>
                    <a:pt x="1655" y="3075"/>
                  </a:lnTo>
                  <a:lnTo>
                    <a:pt x="1593" y="3061"/>
                  </a:lnTo>
                  <a:lnTo>
                    <a:pt x="255" y="3803"/>
                  </a:lnTo>
                  <a:lnTo>
                    <a:pt x="182" y="2765"/>
                  </a:lnTo>
                  <a:lnTo>
                    <a:pt x="140" y="2758"/>
                  </a:lnTo>
                  <a:close/>
                  <a:moveTo>
                    <a:pt x="3447" y="2033"/>
                  </a:moveTo>
                  <a:lnTo>
                    <a:pt x="1622" y="3047"/>
                  </a:lnTo>
                  <a:lnTo>
                    <a:pt x="1683" y="3059"/>
                  </a:lnTo>
                  <a:lnTo>
                    <a:pt x="3510" y="2044"/>
                  </a:lnTo>
                  <a:lnTo>
                    <a:pt x="3447" y="2033"/>
                  </a:lnTo>
                  <a:close/>
                  <a:moveTo>
                    <a:pt x="45" y="1401"/>
                  </a:moveTo>
                  <a:lnTo>
                    <a:pt x="140" y="2737"/>
                  </a:lnTo>
                  <a:lnTo>
                    <a:pt x="182" y="2744"/>
                  </a:lnTo>
                  <a:lnTo>
                    <a:pt x="88" y="1409"/>
                  </a:lnTo>
                  <a:lnTo>
                    <a:pt x="45" y="1401"/>
                  </a:lnTo>
                  <a:close/>
                  <a:moveTo>
                    <a:pt x="1851" y="0"/>
                  </a:moveTo>
                  <a:lnTo>
                    <a:pt x="0" y="770"/>
                  </a:lnTo>
                  <a:lnTo>
                    <a:pt x="43" y="1359"/>
                  </a:lnTo>
                  <a:lnTo>
                    <a:pt x="83" y="1366"/>
                  </a:lnTo>
                  <a:lnTo>
                    <a:pt x="43" y="796"/>
                  </a:lnTo>
                  <a:lnTo>
                    <a:pt x="1877" y="33"/>
                  </a:lnTo>
                  <a:lnTo>
                    <a:pt x="3458" y="1992"/>
                  </a:lnTo>
                  <a:lnTo>
                    <a:pt x="3489" y="2000"/>
                  </a:lnTo>
                  <a:lnTo>
                    <a:pt x="1877" y="2"/>
                  </a:lnTo>
                  <a:lnTo>
                    <a:pt x="185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87" name="Freeform 77"/>
            <p:cNvSpPr>
              <a:spLocks noEditPoints="1"/>
            </p:cNvSpPr>
            <p:nvPr/>
          </p:nvSpPr>
          <p:spPr bwMode="auto">
            <a:xfrm>
              <a:off x="3052039" y="3116757"/>
              <a:ext cx="1781569" cy="1963786"/>
            </a:xfrm>
            <a:custGeom>
              <a:avLst/>
              <a:gdLst>
                <a:gd name="T0" fmla="*/ 140 w 3510"/>
                <a:gd name="T1" fmla="*/ 2758 h 3869"/>
                <a:gd name="T2" fmla="*/ 220 w 3510"/>
                <a:gd name="T3" fmla="*/ 3869 h 3869"/>
                <a:gd name="T4" fmla="*/ 1655 w 3510"/>
                <a:gd name="T5" fmla="*/ 3075 h 3869"/>
                <a:gd name="T6" fmla="*/ 1593 w 3510"/>
                <a:gd name="T7" fmla="*/ 3061 h 3869"/>
                <a:gd name="T8" fmla="*/ 255 w 3510"/>
                <a:gd name="T9" fmla="*/ 3803 h 3869"/>
                <a:gd name="T10" fmla="*/ 182 w 3510"/>
                <a:gd name="T11" fmla="*/ 2765 h 3869"/>
                <a:gd name="T12" fmla="*/ 140 w 3510"/>
                <a:gd name="T13" fmla="*/ 2758 h 3869"/>
                <a:gd name="T14" fmla="*/ 3447 w 3510"/>
                <a:gd name="T15" fmla="*/ 2033 h 3869"/>
                <a:gd name="T16" fmla="*/ 1622 w 3510"/>
                <a:gd name="T17" fmla="*/ 3047 h 3869"/>
                <a:gd name="T18" fmla="*/ 1683 w 3510"/>
                <a:gd name="T19" fmla="*/ 3059 h 3869"/>
                <a:gd name="T20" fmla="*/ 3510 w 3510"/>
                <a:gd name="T21" fmla="*/ 2044 h 3869"/>
                <a:gd name="T22" fmla="*/ 3447 w 3510"/>
                <a:gd name="T23" fmla="*/ 2033 h 3869"/>
                <a:gd name="T24" fmla="*/ 45 w 3510"/>
                <a:gd name="T25" fmla="*/ 1401 h 3869"/>
                <a:gd name="T26" fmla="*/ 140 w 3510"/>
                <a:gd name="T27" fmla="*/ 2737 h 3869"/>
                <a:gd name="T28" fmla="*/ 182 w 3510"/>
                <a:gd name="T29" fmla="*/ 2744 h 3869"/>
                <a:gd name="T30" fmla="*/ 88 w 3510"/>
                <a:gd name="T31" fmla="*/ 1409 h 3869"/>
                <a:gd name="T32" fmla="*/ 45 w 3510"/>
                <a:gd name="T33" fmla="*/ 1401 h 3869"/>
                <a:gd name="T34" fmla="*/ 1851 w 3510"/>
                <a:gd name="T35" fmla="*/ 0 h 3869"/>
                <a:gd name="T36" fmla="*/ 0 w 3510"/>
                <a:gd name="T37" fmla="*/ 770 h 3869"/>
                <a:gd name="T38" fmla="*/ 43 w 3510"/>
                <a:gd name="T39" fmla="*/ 1359 h 3869"/>
                <a:gd name="T40" fmla="*/ 83 w 3510"/>
                <a:gd name="T41" fmla="*/ 1366 h 3869"/>
                <a:gd name="T42" fmla="*/ 43 w 3510"/>
                <a:gd name="T43" fmla="*/ 796 h 3869"/>
                <a:gd name="T44" fmla="*/ 1877 w 3510"/>
                <a:gd name="T45" fmla="*/ 33 h 3869"/>
                <a:gd name="T46" fmla="*/ 3458 w 3510"/>
                <a:gd name="T47" fmla="*/ 1992 h 3869"/>
                <a:gd name="T48" fmla="*/ 3489 w 3510"/>
                <a:gd name="T49" fmla="*/ 2000 h 3869"/>
                <a:gd name="T50" fmla="*/ 1877 w 3510"/>
                <a:gd name="T51" fmla="*/ 2 h 3869"/>
                <a:gd name="T52" fmla="*/ 1851 w 3510"/>
                <a:gd name="T53" fmla="*/ 0 h 3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510" h="3869">
                  <a:moveTo>
                    <a:pt x="140" y="2758"/>
                  </a:moveTo>
                  <a:lnTo>
                    <a:pt x="220" y="3869"/>
                  </a:lnTo>
                  <a:lnTo>
                    <a:pt x="1655" y="3075"/>
                  </a:lnTo>
                  <a:lnTo>
                    <a:pt x="1593" y="3061"/>
                  </a:lnTo>
                  <a:lnTo>
                    <a:pt x="255" y="3803"/>
                  </a:lnTo>
                  <a:lnTo>
                    <a:pt x="182" y="2765"/>
                  </a:lnTo>
                  <a:lnTo>
                    <a:pt x="140" y="2758"/>
                  </a:lnTo>
                  <a:moveTo>
                    <a:pt x="3447" y="2033"/>
                  </a:moveTo>
                  <a:lnTo>
                    <a:pt x="1622" y="3047"/>
                  </a:lnTo>
                  <a:lnTo>
                    <a:pt x="1683" y="3059"/>
                  </a:lnTo>
                  <a:lnTo>
                    <a:pt x="3510" y="2044"/>
                  </a:lnTo>
                  <a:lnTo>
                    <a:pt x="3447" y="2033"/>
                  </a:lnTo>
                  <a:moveTo>
                    <a:pt x="45" y="1401"/>
                  </a:moveTo>
                  <a:lnTo>
                    <a:pt x="140" y="2737"/>
                  </a:lnTo>
                  <a:lnTo>
                    <a:pt x="182" y="2744"/>
                  </a:lnTo>
                  <a:lnTo>
                    <a:pt x="88" y="1409"/>
                  </a:lnTo>
                  <a:lnTo>
                    <a:pt x="45" y="1401"/>
                  </a:lnTo>
                  <a:moveTo>
                    <a:pt x="1851" y="0"/>
                  </a:moveTo>
                  <a:lnTo>
                    <a:pt x="0" y="770"/>
                  </a:lnTo>
                  <a:lnTo>
                    <a:pt x="43" y="1359"/>
                  </a:lnTo>
                  <a:lnTo>
                    <a:pt x="83" y="1366"/>
                  </a:lnTo>
                  <a:lnTo>
                    <a:pt x="43" y="796"/>
                  </a:lnTo>
                  <a:lnTo>
                    <a:pt x="1877" y="33"/>
                  </a:lnTo>
                  <a:lnTo>
                    <a:pt x="3458" y="1992"/>
                  </a:lnTo>
                  <a:lnTo>
                    <a:pt x="3489" y="2000"/>
                  </a:lnTo>
                  <a:lnTo>
                    <a:pt x="1877" y="2"/>
                  </a:lnTo>
                  <a:lnTo>
                    <a:pt x="185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90" name="Freeform 80"/>
            <p:cNvSpPr>
              <a:spLocks noEditPoints="1"/>
            </p:cNvSpPr>
            <p:nvPr/>
          </p:nvSpPr>
          <p:spPr bwMode="auto">
            <a:xfrm>
              <a:off x="3073865" y="3108129"/>
              <a:ext cx="1774463" cy="1038994"/>
            </a:xfrm>
            <a:custGeom>
              <a:avLst/>
              <a:gdLst>
                <a:gd name="T0" fmla="*/ 0 w 3496"/>
                <a:gd name="T1" fmla="*/ 1376 h 2047"/>
                <a:gd name="T2" fmla="*/ 0 w 3496"/>
                <a:gd name="T3" fmla="*/ 1397 h 2047"/>
                <a:gd name="T4" fmla="*/ 42 w 3496"/>
                <a:gd name="T5" fmla="*/ 1404 h 2047"/>
                <a:gd name="T6" fmla="*/ 40 w 3496"/>
                <a:gd name="T7" fmla="*/ 1383 h 2047"/>
                <a:gd name="T8" fmla="*/ 0 w 3496"/>
                <a:gd name="T9" fmla="*/ 1376 h 2047"/>
                <a:gd name="T10" fmla="*/ 1846 w 3496"/>
                <a:gd name="T11" fmla="*/ 0 h 2047"/>
                <a:gd name="T12" fmla="*/ 1808 w 3496"/>
                <a:gd name="T13" fmla="*/ 17 h 2047"/>
                <a:gd name="T14" fmla="*/ 1834 w 3496"/>
                <a:gd name="T15" fmla="*/ 19 h 2047"/>
                <a:gd name="T16" fmla="*/ 3446 w 3496"/>
                <a:gd name="T17" fmla="*/ 2017 h 2047"/>
                <a:gd name="T18" fmla="*/ 3415 w 3496"/>
                <a:gd name="T19" fmla="*/ 2009 h 2047"/>
                <a:gd name="T20" fmla="*/ 3434 w 3496"/>
                <a:gd name="T21" fmla="*/ 2035 h 2047"/>
                <a:gd name="T22" fmla="*/ 3432 w 3496"/>
                <a:gd name="T23" fmla="*/ 2035 h 2047"/>
                <a:gd name="T24" fmla="*/ 3496 w 3496"/>
                <a:gd name="T25" fmla="*/ 2047 h 2047"/>
                <a:gd name="T26" fmla="*/ 1846 w 3496"/>
                <a:gd name="T27" fmla="*/ 0 h 2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496" h="2047">
                  <a:moveTo>
                    <a:pt x="0" y="1376"/>
                  </a:moveTo>
                  <a:lnTo>
                    <a:pt x="0" y="1397"/>
                  </a:lnTo>
                  <a:lnTo>
                    <a:pt x="42" y="1404"/>
                  </a:lnTo>
                  <a:lnTo>
                    <a:pt x="40" y="1383"/>
                  </a:lnTo>
                  <a:lnTo>
                    <a:pt x="0" y="1376"/>
                  </a:lnTo>
                  <a:close/>
                  <a:moveTo>
                    <a:pt x="1846" y="0"/>
                  </a:moveTo>
                  <a:lnTo>
                    <a:pt x="1808" y="17"/>
                  </a:lnTo>
                  <a:lnTo>
                    <a:pt x="1834" y="19"/>
                  </a:lnTo>
                  <a:lnTo>
                    <a:pt x="3446" y="2017"/>
                  </a:lnTo>
                  <a:lnTo>
                    <a:pt x="3415" y="2009"/>
                  </a:lnTo>
                  <a:lnTo>
                    <a:pt x="3434" y="2035"/>
                  </a:lnTo>
                  <a:lnTo>
                    <a:pt x="3432" y="2035"/>
                  </a:lnTo>
                  <a:lnTo>
                    <a:pt x="3496" y="2047"/>
                  </a:lnTo>
                  <a:lnTo>
                    <a:pt x="184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91" name="Freeform 81"/>
            <p:cNvSpPr>
              <a:spLocks noEditPoints="1"/>
            </p:cNvSpPr>
            <p:nvPr/>
          </p:nvSpPr>
          <p:spPr bwMode="auto">
            <a:xfrm>
              <a:off x="3073865" y="3108129"/>
              <a:ext cx="1774463" cy="1038994"/>
            </a:xfrm>
            <a:custGeom>
              <a:avLst/>
              <a:gdLst>
                <a:gd name="T0" fmla="*/ 0 w 3496"/>
                <a:gd name="T1" fmla="*/ 1376 h 2047"/>
                <a:gd name="T2" fmla="*/ 0 w 3496"/>
                <a:gd name="T3" fmla="*/ 1397 h 2047"/>
                <a:gd name="T4" fmla="*/ 42 w 3496"/>
                <a:gd name="T5" fmla="*/ 1404 h 2047"/>
                <a:gd name="T6" fmla="*/ 40 w 3496"/>
                <a:gd name="T7" fmla="*/ 1383 h 2047"/>
                <a:gd name="T8" fmla="*/ 0 w 3496"/>
                <a:gd name="T9" fmla="*/ 1376 h 2047"/>
                <a:gd name="T10" fmla="*/ 1846 w 3496"/>
                <a:gd name="T11" fmla="*/ 0 h 2047"/>
                <a:gd name="T12" fmla="*/ 1808 w 3496"/>
                <a:gd name="T13" fmla="*/ 17 h 2047"/>
                <a:gd name="T14" fmla="*/ 1834 w 3496"/>
                <a:gd name="T15" fmla="*/ 19 h 2047"/>
                <a:gd name="T16" fmla="*/ 3446 w 3496"/>
                <a:gd name="T17" fmla="*/ 2017 h 2047"/>
                <a:gd name="T18" fmla="*/ 3415 w 3496"/>
                <a:gd name="T19" fmla="*/ 2009 h 2047"/>
                <a:gd name="T20" fmla="*/ 3434 w 3496"/>
                <a:gd name="T21" fmla="*/ 2035 h 2047"/>
                <a:gd name="T22" fmla="*/ 3432 w 3496"/>
                <a:gd name="T23" fmla="*/ 2035 h 2047"/>
                <a:gd name="T24" fmla="*/ 3496 w 3496"/>
                <a:gd name="T25" fmla="*/ 2047 h 2047"/>
                <a:gd name="T26" fmla="*/ 1846 w 3496"/>
                <a:gd name="T27" fmla="*/ 0 h 2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496" h="2047">
                  <a:moveTo>
                    <a:pt x="0" y="1376"/>
                  </a:moveTo>
                  <a:lnTo>
                    <a:pt x="0" y="1397"/>
                  </a:lnTo>
                  <a:lnTo>
                    <a:pt x="42" y="1404"/>
                  </a:lnTo>
                  <a:lnTo>
                    <a:pt x="40" y="1383"/>
                  </a:lnTo>
                  <a:lnTo>
                    <a:pt x="0" y="1376"/>
                  </a:lnTo>
                  <a:moveTo>
                    <a:pt x="1846" y="0"/>
                  </a:moveTo>
                  <a:lnTo>
                    <a:pt x="1808" y="17"/>
                  </a:lnTo>
                  <a:lnTo>
                    <a:pt x="1834" y="19"/>
                  </a:lnTo>
                  <a:lnTo>
                    <a:pt x="3446" y="2017"/>
                  </a:lnTo>
                  <a:lnTo>
                    <a:pt x="3415" y="2009"/>
                  </a:lnTo>
                  <a:lnTo>
                    <a:pt x="3434" y="2035"/>
                  </a:lnTo>
                  <a:lnTo>
                    <a:pt x="3432" y="2035"/>
                  </a:lnTo>
                  <a:lnTo>
                    <a:pt x="3496" y="2047"/>
                  </a:lnTo>
                  <a:lnTo>
                    <a:pt x="184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3"/>
            <p:cNvSpPr>
              <a:spLocks/>
            </p:cNvSpPr>
            <p:nvPr/>
          </p:nvSpPr>
          <p:spPr bwMode="auto">
            <a:xfrm>
              <a:off x="1073281" y="3241111"/>
              <a:ext cx="2090170" cy="1839431"/>
            </a:xfrm>
            <a:custGeom>
              <a:avLst/>
              <a:gdLst>
                <a:gd name="T0" fmla="*/ 1667 w 4118"/>
                <a:gd name="T1" fmla="*/ 0 h 3624"/>
                <a:gd name="T2" fmla="*/ 0 w 4118"/>
                <a:gd name="T3" fmla="*/ 2428 h 3624"/>
                <a:gd name="T4" fmla="*/ 4118 w 4118"/>
                <a:gd name="T5" fmla="*/ 3624 h 3624"/>
                <a:gd name="T6" fmla="*/ 3899 w 4118"/>
                <a:gd name="T7" fmla="*/ 525 h 3624"/>
                <a:gd name="T8" fmla="*/ 1667 w 4118"/>
                <a:gd name="T9" fmla="*/ 0 h 3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18" h="3624">
                  <a:moveTo>
                    <a:pt x="1667" y="0"/>
                  </a:moveTo>
                  <a:lnTo>
                    <a:pt x="0" y="2428"/>
                  </a:lnTo>
                  <a:lnTo>
                    <a:pt x="4118" y="3624"/>
                  </a:lnTo>
                  <a:lnTo>
                    <a:pt x="3899" y="525"/>
                  </a:lnTo>
                  <a:lnTo>
                    <a:pt x="1667" y="0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  <a:alpha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4"/>
            <p:cNvSpPr>
              <a:spLocks/>
            </p:cNvSpPr>
            <p:nvPr/>
          </p:nvSpPr>
          <p:spPr bwMode="auto">
            <a:xfrm>
              <a:off x="1073281" y="3241111"/>
              <a:ext cx="2090170" cy="1839431"/>
            </a:xfrm>
            <a:custGeom>
              <a:avLst/>
              <a:gdLst>
                <a:gd name="T0" fmla="*/ 1667 w 4118"/>
                <a:gd name="T1" fmla="*/ 0 h 3624"/>
                <a:gd name="T2" fmla="*/ 0 w 4118"/>
                <a:gd name="T3" fmla="*/ 2428 h 3624"/>
                <a:gd name="T4" fmla="*/ 4118 w 4118"/>
                <a:gd name="T5" fmla="*/ 3624 h 3624"/>
                <a:gd name="T6" fmla="*/ 3899 w 4118"/>
                <a:gd name="T7" fmla="*/ 525 h 3624"/>
                <a:gd name="T8" fmla="*/ 1667 w 4118"/>
                <a:gd name="T9" fmla="*/ 0 h 3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18" h="3624">
                  <a:moveTo>
                    <a:pt x="1667" y="0"/>
                  </a:moveTo>
                  <a:lnTo>
                    <a:pt x="0" y="2428"/>
                  </a:lnTo>
                  <a:lnTo>
                    <a:pt x="4118" y="3624"/>
                  </a:lnTo>
                  <a:lnTo>
                    <a:pt x="3899" y="525"/>
                  </a:lnTo>
                  <a:lnTo>
                    <a:pt x="166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9"/>
            <p:cNvSpPr>
              <a:spLocks/>
            </p:cNvSpPr>
            <p:nvPr/>
          </p:nvSpPr>
          <p:spPr bwMode="auto">
            <a:xfrm>
              <a:off x="3052293" y="3108127"/>
              <a:ext cx="1796287" cy="1972414"/>
            </a:xfrm>
            <a:custGeom>
              <a:avLst/>
              <a:gdLst>
                <a:gd name="T0" fmla="*/ 1888 w 3539"/>
                <a:gd name="T1" fmla="*/ 0 h 3886"/>
                <a:gd name="T2" fmla="*/ 0 w 3539"/>
                <a:gd name="T3" fmla="*/ 787 h 3886"/>
                <a:gd name="T4" fmla="*/ 219 w 3539"/>
                <a:gd name="T5" fmla="*/ 3886 h 3886"/>
                <a:gd name="T6" fmla="*/ 3539 w 3539"/>
                <a:gd name="T7" fmla="*/ 2047 h 3886"/>
                <a:gd name="T8" fmla="*/ 1888 w 3539"/>
                <a:gd name="T9" fmla="*/ 0 h 3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39" h="3886">
                  <a:moveTo>
                    <a:pt x="1888" y="0"/>
                  </a:moveTo>
                  <a:lnTo>
                    <a:pt x="0" y="787"/>
                  </a:lnTo>
                  <a:lnTo>
                    <a:pt x="219" y="3886"/>
                  </a:lnTo>
                  <a:lnTo>
                    <a:pt x="3539" y="2047"/>
                  </a:lnTo>
                  <a:lnTo>
                    <a:pt x="1888" y="0"/>
                  </a:lnTo>
                  <a:close/>
                </a:path>
              </a:pathLst>
            </a:custGeom>
            <a:solidFill>
              <a:schemeClr val="accent4">
                <a:alpha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40" name="Freeform 30"/>
            <p:cNvSpPr>
              <a:spLocks/>
            </p:cNvSpPr>
            <p:nvPr/>
          </p:nvSpPr>
          <p:spPr bwMode="auto">
            <a:xfrm>
              <a:off x="3052293" y="3108127"/>
              <a:ext cx="1796287" cy="1972414"/>
            </a:xfrm>
            <a:custGeom>
              <a:avLst/>
              <a:gdLst>
                <a:gd name="T0" fmla="*/ 1888 w 3539"/>
                <a:gd name="T1" fmla="*/ 0 h 3886"/>
                <a:gd name="T2" fmla="*/ 0 w 3539"/>
                <a:gd name="T3" fmla="*/ 787 h 3886"/>
                <a:gd name="T4" fmla="*/ 219 w 3539"/>
                <a:gd name="T5" fmla="*/ 3886 h 3886"/>
                <a:gd name="T6" fmla="*/ 3539 w 3539"/>
                <a:gd name="T7" fmla="*/ 2047 h 3886"/>
                <a:gd name="T8" fmla="*/ 1888 w 3539"/>
                <a:gd name="T9" fmla="*/ 0 h 3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39" h="3886">
                  <a:moveTo>
                    <a:pt x="1888" y="0"/>
                  </a:moveTo>
                  <a:lnTo>
                    <a:pt x="0" y="787"/>
                  </a:lnTo>
                  <a:lnTo>
                    <a:pt x="219" y="3886"/>
                  </a:lnTo>
                  <a:lnTo>
                    <a:pt x="3539" y="2047"/>
                  </a:lnTo>
                  <a:lnTo>
                    <a:pt x="188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CE6E993D-17F1-4D88-A094-9FB4DB1927A4}"/>
              </a:ext>
            </a:extLst>
          </p:cNvPr>
          <p:cNvGrpSpPr/>
          <p:nvPr/>
        </p:nvGrpSpPr>
        <p:grpSpPr>
          <a:xfrm>
            <a:off x="1766339" y="1767637"/>
            <a:ext cx="2092099" cy="1739949"/>
            <a:chOff x="1918739" y="1767637"/>
            <a:chExt cx="2092099" cy="1739949"/>
          </a:xfrm>
        </p:grpSpPr>
        <p:sp>
          <p:nvSpPr>
            <p:cNvPr id="35907" name="Freeform 97"/>
            <p:cNvSpPr>
              <a:spLocks/>
            </p:cNvSpPr>
            <p:nvPr/>
          </p:nvSpPr>
          <p:spPr bwMode="auto">
            <a:xfrm>
              <a:off x="1918739" y="1768818"/>
              <a:ext cx="1009048" cy="1473474"/>
            </a:xfrm>
            <a:custGeom>
              <a:avLst/>
              <a:gdLst>
                <a:gd name="T0" fmla="*/ 1988 w 1988"/>
                <a:gd name="T1" fmla="*/ 0 h 2903"/>
                <a:gd name="T2" fmla="*/ 0 w 1988"/>
                <a:gd name="T3" fmla="*/ 2903 h 2903"/>
                <a:gd name="T4" fmla="*/ 1858 w 1988"/>
                <a:gd name="T5" fmla="*/ 2315 h 2903"/>
                <a:gd name="T6" fmla="*/ 1988 w 1988"/>
                <a:gd name="T7" fmla="*/ 0 h 2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88" h="2903">
                  <a:moveTo>
                    <a:pt x="1988" y="0"/>
                  </a:moveTo>
                  <a:lnTo>
                    <a:pt x="0" y="2903"/>
                  </a:lnTo>
                  <a:lnTo>
                    <a:pt x="1858" y="2315"/>
                  </a:lnTo>
                  <a:lnTo>
                    <a:pt x="1988" y="0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08" name="Freeform 98"/>
            <p:cNvSpPr>
              <a:spLocks/>
            </p:cNvSpPr>
            <p:nvPr/>
          </p:nvSpPr>
          <p:spPr bwMode="auto">
            <a:xfrm>
              <a:off x="1918739" y="1768818"/>
              <a:ext cx="1009048" cy="1473474"/>
            </a:xfrm>
            <a:custGeom>
              <a:avLst/>
              <a:gdLst>
                <a:gd name="T0" fmla="*/ 1988 w 1988"/>
                <a:gd name="T1" fmla="*/ 0 h 2903"/>
                <a:gd name="T2" fmla="*/ 0 w 1988"/>
                <a:gd name="T3" fmla="*/ 2903 h 2903"/>
                <a:gd name="T4" fmla="*/ 1858 w 1988"/>
                <a:gd name="T5" fmla="*/ 2315 h 2903"/>
                <a:gd name="T6" fmla="*/ 1988 w 1988"/>
                <a:gd name="T7" fmla="*/ 0 h 2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88" h="2903">
                  <a:moveTo>
                    <a:pt x="1988" y="0"/>
                  </a:moveTo>
                  <a:lnTo>
                    <a:pt x="0" y="2903"/>
                  </a:lnTo>
                  <a:lnTo>
                    <a:pt x="1858" y="2315"/>
                  </a:lnTo>
                  <a:lnTo>
                    <a:pt x="198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13" name="Freeform 103"/>
            <p:cNvSpPr>
              <a:spLocks/>
            </p:cNvSpPr>
            <p:nvPr/>
          </p:nvSpPr>
          <p:spPr bwMode="auto">
            <a:xfrm>
              <a:off x="2861803" y="1768818"/>
              <a:ext cx="1148122" cy="1340490"/>
            </a:xfrm>
            <a:custGeom>
              <a:avLst/>
              <a:gdLst>
                <a:gd name="T0" fmla="*/ 130 w 2262"/>
                <a:gd name="T1" fmla="*/ 0 h 2641"/>
                <a:gd name="T2" fmla="*/ 130 w 2262"/>
                <a:gd name="T3" fmla="*/ 0 h 2641"/>
                <a:gd name="T4" fmla="*/ 0 w 2262"/>
                <a:gd name="T5" fmla="*/ 2315 h 2641"/>
                <a:gd name="T6" fmla="*/ 2262 w 2262"/>
                <a:gd name="T7" fmla="*/ 2641 h 2641"/>
                <a:gd name="T8" fmla="*/ 130 w 2262"/>
                <a:gd name="T9" fmla="*/ 0 h 2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62" h="2641">
                  <a:moveTo>
                    <a:pt x="130" y="0"/>
                  </a:moveTo>
                  <a:lnTo>
                    <a:pt x="130" y="0"/>
                  </a:lnTo>
                  <a:lnTo>
                    <a:pt x="0" y="2315"/>
                  </a:lnTo>
                  <a:lnTo>
                    <a:pt x="2262" y="2641"/>
                  </a:lnTo>
                  <a:lnTo>
                    <a:pt x="13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14" name="Freeform 104"/>
            <p:cNvSpPr>
              <a:spLocks/>
            </p:cNvSpPr>
            <p:nvPr/>
          </p:nvSpPr>
          <p:spPr bwMode="auto">
            <a:xfrm>
              <a:off x="2861803" y="1768818"/>
              <a:ext cx="1148122" cy="1340490"/>
            </a:xfrm>
            <a:custGeom>
              <a:avLst/>
              <a:gdLst>
                <a:gd name="T0" fmla="*/ 130 w 2262"/>
                <a:gd name="T1" fmla="*/ 0 h 2641"/>
                <a:gd name="T2" fmla="*/ 130 w 2262"/>
                <a:gd name="T3" fmla="*/ 0 h 2641"/>
                <a:gd name="T4" fmla="*/ 0 w 2262"/>
                <a:gd name="T5" fmla="*/ 2315 h 2641"/>
                <a:gd name="T6" fmla="*/ 2262 w 2262"/>
                <a:gd name="T7" fmla="*/ 2641 h 2641"/>
                <a:gd name="T8" fmla="*/ 130 w 2262"/>
                <a:gd name="T9" fmla="*/ 0 h 2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62" h="2641">
                  <a:moveTo>
                    <a:pt x="130" y="0"/>
                  </a:moveTo>
                  <a:lnTo>
                    <a:pt x="130" y="0"/>
                  </a:lnTo>
                  <a:lnTo>
                    <a:pt x="0" y="2315"/>
                  </a:lnTo>
                  <a:lnTo>
                    <a:pt x="2262" y="2641"/>
                  </a:lnTo>
                  <a:lnTo>
                    <a:pt x="13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50" name="Freeform 40"/>
            <p:cNvSpPr>
              <a:spLocks noEditPoints="1"/>
            </p:cNvSpPr>
            <p:nvPr/>
          </p:nvSpPr>
          <p:spPr bwMode="auto">
            <a:xfrm>
              <a:off x="1919652" y="1850879"/>
              <a:ext cx="999404" cy="1390232"/>
            </a:xfrm>
            <a:custGeom>
              <a:avLst/>
              <a:gdLst>
                <a:gd name="T0" fmla="*/ 0 w 1969"/>
                <a:gd name="T1" fmla="*/ 2739 h 2739"/>
                <a:gd name="T2" fmla="*/ 0 w 1969"/>
                <a:gd name="T3" fmla="*/ 2739 h 2739"/>
                <a:gd name="T4" fmla="*/ 1957 w 1969"/>
                <a:gd name="T5" fmla="*/ 0 h 2739"/>
                <a:gd name="T6" fmla="*/ 1836 w 1969"/>
                <a:gd name="T7" fmla="*/ 2134 h 2739"/>
                <a:gd name="T8" fmla="*/ 82 w 1969"/>
                <a:gd name="T9" fmla="*/ 2690 h 2739"/>
                <a:gd name="T10" fmla="*/ 68 w 1969"/>
                <a:gd name="T11" fmla="*/ 2711 h 2739"/>
                <a:gd name="T12" fmla="*/ 75 w 1969"/>
                <a:gd name="T13" fmla="*/ 2713 h 2739"/>
                <a:gd name="T14" fmla="*/ 1858 w 1969"/>
                <a:gd name="T15" fmla="*/ 2151 h 2739"/>
                <a:gd name="T16" fmla="*/ 1969 w 1969"/>
                <a:gd name="T17" fmla="*/ 160 h 2739"/>
                <a:gd name="T18" fmla="*/ 1957 w 1969"/>
                <a:gd name="T19" fmla="*/ 0 h 27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69" h="2739">
                  <a:moveTo>
                    <a:pt x="0" y="2739"/>
                  </a:moveTo>
                  <a:lnTo>
                    <a:pt x="0" y="2739"/>
                  </a:lnTo>
                  <a:close/>
                  <a:moveTo>
                    <a:pt x="1957" y="0"/>
                  </a:moveTo>
                  <a:lnTo>
                    <a:pt x="1836" y="2134"/>
                  </a:lnTo>
                  <a:lnTo>
                    <a:pt x="82" y="2690"/>
                  </a:lnTo>
                  <a:lnTo>
                    <a:pt x="68" y="2711"/>
                  </a:lnTo>
                  <a:lnTo>
                    <a:pt x="75" y="2713"/>
                  </a:lnTo>
                  <a:lnTo>
                    <a:pt x="1858" y="2151"/>
                  </a:lnTo>
                  <a:lnTo>
                    <a:pt x="1969" y="160"/>
                  </a:lnTo>
                  <a:lnTo>
                    <a:pt x="195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51" name="Freeform 41"/>
            <p:cNvSpPr>
              <a:spLocks noEditPoints="1"/>
            </p:cNvSpPr>
            <p:nvPr/>
          </p:nvSpPr>
          <p:spPr bwMode="auto">
            <a:xfrm>
              <a:off x="1919652" y="1850879"/>
              <a:ext cx="999404" cy="1390232"/>
            </a:xfrm>
            <a:custGeom>
              <a:avLst/>
              <a:gdLst>
                <a:gd name="T0" fmla="*/ 0 w 1969"/>
                <a:gd name="T1" fmla="*/ 2739 h 2739"/>
                <a:gd name="T2" fmla="*/ 0 w 1969"/>
                <a:gd name="T3" fmla="*/ 2739 h 2739"/>
                <a:gd name="T4" fmla="*/ 1957 w 1969"/>
                <a:gd name="T5" fmla="*/ 0 h 2739"/>
                <a:gd name="T6" fmla="*/ 1836 w 1969"/>
                <a:gd name="T7" fmla="*/ 2134 h 2739"/>
                <a:gd name="T8" fmla="*/ 82 w 1969"/>
                <a:gd name="T9" fmla="*/ 2690 h 2739"/>
                <a:gd name="T10" fmla="*/ 68 w 1969"/>
                <a:gd name="T11" fmla="*/ 2711 h 2739"/>
                <a:gd name="T12" fmla="*/ 75 w 1969"/>
                <a:gd name="T13" fmla="*/ 2713 h 2739"/>
                <a:gd name="T14" fmla="*/ 1858 w 1969"/>
                <a:gd name="T15" fmla="*/ 2151 h 2739"/>
                <a:gd name="T16" fmla="*/ 1969 w 1969"/>
                <a:gd name="T17" fmla="*/ 160 h 2739"/>
                <a:gd name="T18" fmla="*/ 1957 w 1969"/>
                <a:gd name="T19" fmla="*/ 0 h 27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69" h="2739">
                  <a:moveTo>
                    <a:pt x="0" y="2739"/>
                  </a:moveTo>
                  <a:lnTo>
                    <a:pt x="0" y="2739"/>
                  </a:lnTo>
                  <a:moveTo>
                    <a:pt x="1957" y="0"/>
                  </a:moveTo>
                  <a:lnTo>
                    <a:pt x="1836" y="2134"/>
                  </a:lnTo>
                  <a:lnTo>
                    <a:pt x="82" y="2690"/>
                  </a:lnTo>
                  <a:lnTo>
                    <a:pt x="68" y="2711"/>
                  </a:lnTo>
                  <a:lnTo>
                    <a:pt x="75" y="2713"/>
                  </a:lnTo>
                  <a:lnTo>
                    <a:pt x="1858" y="2151"/>
                  </a:lnTo>
                  <a:lnTo>
                    <a:pt x="1969" y="160"/>
                  </a:lnTo>
                  <a:lnTo>
                    <a:pt x="195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56" name="Freeform 46"/>
            <p:cNvSpPr>
              <a:spLocks noEditPoints="1"/>
            </p:cNvSpPr>
            <p:nvPr/>
          </p:nvSpPr>
          <p:spPr bwMode="auto">
            <a:xfrm>
              <a:off x="2862716" y="1932090"/>
              <a:ext cx="1148122" cy="1176038"/>
            </a:xfrm>
            <a:custGeom>
              <a:avLst/>
              <a:gdLst>
                <a:gd name="T0" fmla="*/ 2262 w 2262"/>
                <a:gd name="T1" fmla="*/ 2317 h 2317"/>
                <a:gd name="T2" fmla="*/ 2262 w 2262"/>
                <a:gd name="T3" fmla="*/ 2317 h 2317"/>
                <a:gd name="T4" fmla="*/ 338 w 2262"/>
                <a:gd name="T5" fmla="*/ 2019 h 2317"/>
                <a:gd name="T6" fmla="*/ 340 w 2262"/>
                <a:gd name="T7" fmla="*/ 2040 h 2317"/>
                <a:gd name="T8" fmla="*/ 2181 w 2262"/>
                <a:gd name="T9" fmla="*/ 2305 h 2317"/>
                <a:gd name="T10" fmla="*/ 2196 w 2262"/>
                <a:gd name="T11" fmla="*/ 2300 h 2317"/>
                <a:gd name="T12" fmla="*/ 2181 w 2262"/>
                <a:gd name="T13" fmla="*/ 2284 h 2317"/>
                <a:gd name="T14" fmla="*/ 338 w 2262"/>
                <a:gd name="T15" fmla="*/ 2019 h 2317"/>
                <a:gd name="T16" fmla="*/ 111 w 2262"/>
                <a:gd name="T17" fmla="*/ 0 h 2317"/>
                <a:gd name="T18" fmla="*/ 0 w 2262"/>
                <a:gd name="T19" fmla="*/ 1991 h 2317"/>
                <a:gd name="T20" fmla="*/ 255 w 2262"/>
                <a:gd name="T21" fmla="*/ 2029 h 2317"/>
                <a:gd name="T22" fmla="*/ 253 w 2262"/>
                <a:gd name="T23" fmla="*/ 2007 h 2317"/>
                <a:gd name="T24" fmla="*/ 21 w 2262"/>
                <a:gd name="T25" fmla="*/ 1972 h 2317"/>
                <a:gd name="T26" fmla="*/ 123 w 2262"/>
                <a:gd name="T27" fmla="*/ 163 h 2317"/>
                <a:gd name="T28" fmla="*/ 111 w 2262"/>
                <a:gd name="T29" fmla="*/ 0 h 2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62" h="2317">
                  <a:moveTo>
                    <a:pt x="2262" y="2317"/>
                  </a:moveTo>
                  <a:lnTo>
                    <a:pt x="2262" y="2317"/>
                  </a:lnTo>
                  <a:close/>
                  <a:moveTo>
                    <a:pt x="338" y="2019"/>
                  </a:moveTo>
                  <a:lnTo>
                    <a:pt x="340" y="2040"/>
                  </a:lnTo>
                  <a:lnTo>
                    <a:pt x="2181" y="2305"/>
                  </a:lnTo>
                  <a:lnTo>
                    <a:pt x="2196" y="2300"/>
                  </a:lnTo>
                  <a:lnTo>
                    <a:pt x="2181" y="2284"/>
                  </a:lnTo>
                  <a:lnTo>
                    <a:pt x="338" y="2019"/>
                  </a:lnTo>
                  <a:close/>
                  <a:moveTo>
                    <a:pt x="111" y="0"/>
                  </a:moveTo>
                  <a:lnTo>
                    <a:pt x="0" y="1991"/>
                  </a:lnTo>
                  <a:lnTo>
                    <a:pt x="255" y="2029"/>
                  </a:lnTo>
                  <a:lnTo>
                    <a:pt x="253" y="2007"/>
                  </a:lnTo>
                  <a:lnTo>
                    <a:pt x="21" y="1972"/>
                  </a:lnTo>
                  <a:lnTo>
                    <a:pt x="123" y="163"/>
                  </a:lnTo>
                  <a:lnTo>
                    <a:pt x="11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57" name="Freeform 47"/>
            <p:cNvSpPr>
              <a:spLocks noEditPoints="1"/>
            </p:cNvSpPr>
            <p:nvPr/>
          </p:nvSpPr>
          <p:spPr bwMode="auto">
            <a:xfrm>
              <a:off x="2862716" y="1932090"/>
              <a:ext cx="1148122" cy="1176038"/>
            </a:xfrm>
            <a:custGeom>
              <a:avLst/>
              <a:gdLst>
                <a:gd name="T0" fmla="*/ 2262 w 2262"/>
                <a:gd name="T1" fmla="*/ 2317 h 2317"/>
                <a:gd name="T2" fmla="*/ 2262 w 2262"/>
                <a:gd name="T3" fmla="*/ 2317 h 2317"/>
                <a:gd name="T4" fmla="*/ 338 w 2262"/>
                <a:gd name="T5" fmla="*/ 2019 h 2317"/>
                <a:gd name="T6" fmla="*/ 340 w 2262"/>
                <a:gd name="T7" fmla="*/ 2040 h 2317"/>
                <a:gd name="T8" fmla="*/ 2181 w 2262"/>
                <a:gd name="T9" fmla="*/ 2305 h 2317"/>
                <a:gd name="T10" fmla="*/ 2196 w 2262"/>
                <a:gd name="T11" fmla="*/ 2300 h 2317"/>
                <a:gd name="T12" fmla="*/ 2181 w 2262"/>
                <a:gd name="T13" fmla="*/ 2284 h 2317"/>
                <a:gd name="T14" fmla="*/ 338 w 2262"/>
                <a:gd name="T15" fmla="*/ 2019 h 2317"/>
                <a:gd name="T16" fmla="*/ 111 w 2262"/>
                <a:gd name="T17" fmla="*/ 0 h 2317"/>
                <a:gd name="T18" fmla="*/ 0 w 2262"/>
                <a:gd name="T19" fmla="*/ 1991 h 2317"/>
                <a:gd name="T20" fmla="*/ 255 w 2262"/>
                <a:gd name="T21" fmla="*/ 2029 h 2317"/>
                <a:gd name="T22" fmla="*/ 253 w 2262"/>
                <a:gd name="T23" fmla="*/ 2007 h 2317"/>
                <a:gd name="T24" fmla="*/ 21 w 2262"/>
                <a:gd name="T25" fmla="*/ 1972 h 2317"/>
                <a:gd name="T26" fmla="*/ 123 w 2262"/>
                <a:gd name="T27" fmla="*/ 163 h 2317"/>
                <a:gd name="T28" fmla="*/ 111 w 2262"/>
                <a:gd name="T29" fmla="*/ 0 h 2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62" h="2317">
                  <a:moveTo>
                    <a:pt x="2262" y="2317"/>
                  </a:moveTo>
                  <a:lnTo>
                    <a:pt x="2262" y="2317"/>
                  </a:lnTo>
                  <a:moveTo>
                    <a:pt x="338" y="2019"/>
                  </a:moveTo>
                  <a:lnTo>
                    <a:pt x="340" y="2040"/>
                  </a:lnTo>
                  <a:lnTo>
                    <a:pt x="2181" y="2305"/>
                  </a:lnTo>
                  <a:lnTo>
                    <a:pt x="2196" y="2300"/>
                  </a:lnTo>
                  <a:lnTo>
                    <a:pt x="2181" y="2284"/>
                  </a:lnTo>
                  <a:lnTo>
                    <a:pt x="338" y="2019"/>
                  </a:lnTo>
                  <a:moveTo>
                    <a:pt x="111" y="0"/>
                  </a:moveTo>
                  <a:lnTo>
                    <a:pt x="0" y="1991"/>
                  </a:lnTo>
                  <a:lnTo>
                    <a:pt x="255" y="2029"/>
                  </a:lnTo>
                  <a:lnTo>
                    <a:pt x="253" y="2007"/>
                  </a:lnTo>
                  <a:lnTo>
                    <a:pt x="21" y="1972"/>
                  </a:lnTo>
                  <a:lnTo>
                    <a:pt x="123" y="163"/>
                  </a:lnTo>
                  <a:lnTo>
                    <a:pt x="11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72" name="Freeform 62"/>
            <p:cNvSpPr>
              <a:spLocks noEditPoints="1"/>
            </p:cNvSpPr>
            <p:nvPr/>
          </p:nvSpPr>
          <p:spPr bwMode="auto">
            <a:xfrm>
              <a:off x="1938940" y="1805198"/>
              <a:ext cx="1113100" cy="1702388"/>
            </a:xfrm>
            <a:custGeom>
              <a:avLst/>
              <a:gdLst>
                <a:gd name="T0" fmla="*/ 78 w 2193"/>
                <a:gd name="T1" fmla="*/ 2813 h 3354"/>
                <a:gd name="T2" fmla="*/ 0 w 2193"/>
                <a:gd name="T3" fmla="*/ 2839 h 3354"/>
                <a:gd name="T4" fmla="*/ 1742 w 2193"/>
                <a:gd name="T5" fmla="*/ 3248 h 3354"/>
                <a:gd name="T6" fmla="*/ 1744 w 2193"/>
                <a:gd name="T7" fmla="*/ 3205 h 3354"/>
                <a:gd name="T8" fmla="*/ 78 w 2193"/>
                <a:gd name="T9" fmla="*/ 2813 h 3354"/>
                <a:gd name="T10" fmla="*/ 2077 w 2193"/>
                <a:gd name="T11" fmla="*/ 2298 h 3354"/>
                <a:gd name="T12" fmla="*/ 2148 w 2193"/>
                <a:gd name="T13" fmla="*/ 3300 h 3354"/>
                <a:gd name="T14" fmla="*/ 1784 w 2193"/>
                <a:gd name="T15" fmla="*/ 3215 h 3354"/>
                <a:gd name="T16" fmla="*/ 1782 w 2193"/>
                <a:gd name="T17" fmla="*/ 3257 h 3354"/>
                <a:gd name="T18" fmla="*/ 2193 w 2193"/>
                <a:gd name="T19" fmla="*/ 3354 h 3354"/>
                <a:gd name="T20" fmla="*/ 2117 w 2193"/>
                <a:gd name="T21" fmla="*/ 2305 h 3354"/>
                <a:gd name="T22" fmla="*/ 2077 w 2193"/>
                <a:gd name="T23" fmla="*/ 2298 h 3354"/>
                <a:gd name="T24" fmla="*/ 1961 w 2193"/>
                <a:gd name="T25" fmla="*/ 87 h 3354"/>
                <a:gd name="T26" fmla="*/ 1943 w 2193"/>
                <a:gd name="T27" fmla="*/ 413 h 3354"/>
                <a:gd name="T28" fmla="*/ 2073 w 2193"/>
                <a:gd name="T29" fmla="*/ 2257 h 3354"/>
                <a:gd name="T30" fmla="*/ 2115 w 2193"/>
                <a:gd name="T31" fmla="*/ 2262 h 3354"/>
                <a:gd name="T32" fmla="*/ 1961 w 2193"/>
                <a:gd name="T33" fmla="*/ 87 h 3354"/>
                <a:gd name="T34" fmla="*/ 1926 w 2193"/>
                <a:gd name="T35" fmla="*/ 0 h 3354"/>
                <a:gd name="T36" fmla="*/ 11 w 2193"/>
                <a:gd name="T37" fmla="*/ 2792 h 3354"/>
                <a:gd name="T38" fmla="*/ 44 w 2193"/>
                <a:gd name="T39" fmla="*/ 2780 h 3354"/>
                <a:gd name="T40" fmla="*/ 1917 w 2193"/>
                <a:gd name="T41" fmla="*/ 47 h 3354"/>
                <a:gd name="T42" fmla="*/ 1919 w 2193"/>
                <a:gd name="T43" fmla="*/ 90 h 3354"/>
                <a:gd name="T44" fmla="*/ 1926 w 2193"/>
                <a:gd name="T45" fmla="*/ 0 h 3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93" h="3354">
                  <a:moveTo>
                    <a:pt x="78" y="2813"/>
                  </a:moveTo>
                  <a:lnTo>
                    <a:pt x="0" y="2839"/>
                  </a:lnTo>
                  <a:lnTo>
                    <a:pt x="1742" y="3248"/>
                  </a:lnTo>
                  <a:lnTo>
                    <a:pt x="1744" y="3205"/>
                  </a:lnTo>
                  <a:lnTo>
                    <a:pt x="78" y="2813"/>
                  </a:lnTo>
                  <a:close/>
                  <a:moveTo>
                    <a:pt x="2077" y="2298"/>
                  </a:moveTo>
                  <a:lnTo>
                    <a:pt x="2148" y="3300"/>
                  </a:lnTo>
                  <a:lnTo>
                    <a:pt x="1784" y="3215"/>
                  </a:lnTo>
                  <a:lnTo>
                    <a:pt x="1782" y="3257"/>
                  </a:lnTo>
                  <a:lnTo>
                    <a:pt x="2193" y="3354"/>
                  </a:lnTo>
                  <a:lnTo>
                    <a:pt x="2117" y="2305"/>
                  </a:lnTo>
                  <a:lnTo>
                    <a:pt x="2077" y="2298"/>
                  </a:lnTo>
                  <a:close/>
                  <a:moveTo>
                    <a:pt x="1961" y="87"/>
                  </a:moveTo>
                  <a:lnTo>
                    <a:pt x="1943" y="413"/>
                  </a:lnTo>
                  <a:lnTo>
                    <a:pt x="2073" y="2257"/>
                  </a:lnTo>
                  <a:lnTo>
                    <a:pt x="2115" y="2262"/>
                  </a:lnTo>
                  <a:lnTo>
                    <a:pt x="1961" y="87"/>
                  </a:lnTo>
                  <a:close/>
                  <a:moveTo>
                    <a:pt x="1926" y="0"/>
                  </a:moveTo>
                  <a:lnTo>
                    <a:pt x="11" y="2792"/>
                  </a:lnTo>
                  <a:lnTo>
                    <a:pt x="44" y="2780"/>
                  </a:lnTo>
                  <a:lnTo>
                    <a:pt x="1917" y="47"/>
                  </a:lnTo>
                  <a:lnTo>
                    <a:pt x="1919" y="90"/>
                  </a:lnTo>
                  <a:lnTo>
                    <a:pt x="192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73" name="Freeform 63"/>
            <p:cNvSpPr>
              <a:spLocks noEditPoints="1"/>
            </p:cNvSpPr>
            <p:nvPr/>
          </p:nvSpPr>
          <p:spPr bwMode="auto">
            <a:xfrm>
              <a:off x="1938940" y="1805198"/>
              <a:ext cx="1113100" cy="1702388"/>
            </a:xfrm>
            <a:custGeom>
              <a:avLst/>
              <a:gdLst>
                <a:gd name="T0" fmla="*/ 78 w 2193"/>
                <a:gd name="T1" fmla="*/ 2813 h 3354"/>
                <a:gd name="T2" fmla="*/ 0 w 2193"/>
                <a:gd name="T3" fmla="*/ 2839 h 3354"/>
                <a:gd name="T4" fmla="*/ 1742 w 2193"/>
                <a:gd name="T5" fmla="*/ 3248 h 3354"/>
                <a:gd name="T6" fmla="*/ 1744 w 2193"/>
                <a:gd name="T7" fmla="*/ 3205 h 3354"/>
                <a:gd name="T8" fmla="*/ 78 w 2193"/>
                <a:gd name="T9" fmla="*/ 2813 h 3354"/>
                <a:gd name="T10" fmla="*/ 2077 w 2193"/>
                <a:gd name="T11" fmla="*/ 2298 h 3354"/>
                <a:gd name="T12" fmla="*/ 2148 w 2193"/>
                <a:gd name="T13" fmla="*/ 3300 h 3354"/>
                <a:gd name="T14" fmla="*/ 1784 w 2193"/>
                <a:gd name="T15" fmla="*/ 3215 h 3354"/>
                <a:gd name="T16" fmla="*/ 1782 w 2193"/>
                <a:gd name="T17" fmla="*/ 3257 h 3354"/>
                <a:gd name="T18" fmla="*/ 2193 w 2193"/>
                <a:gd name="T19" fmla="*/ 3354 h 3354"/>
                <a:gd name="T20" fmla="*/ 2117 w 2193"/>
                <a:gd name="T21" fmla="*/ 2305 h 3354"/>
                <a:gd name="T22" fmla="*/ 2077 w 2193"/>
                <a:gd name="T23" fmla="*/ 2298 h 3354"/>
                <a:gd name="T24" fmla="*/ 1961 w 2193"/>
                <a:gd name="T25" fmla="*/ 87 h 3354"/>
                <a:gd name="T26" fmla="*/ 1943 w 2193"/>
                <a:gd name="T27" fmla="*/ 413 h 3354"/>
                <a:gd name="T28" fmla="*/ 2073 w 2193"/>
                <a:gd name="T29" fmla="*/ 2257 h 3354"/>
                <a:gd name="T30" fmla="*/ 2115 w 2193"/>
                <a:gd name="T31" fmla="*/ 2262 h 3354"/>
                <a:gd name="T32" fmla="*/ 1961 w 2193"/>
                <a:gd name="T33" fmla="*/ 87 h 3354"/>
                <a:gd name="T34" fmla="*/ 1926 w 2193"/>
                <a:gd name="T35" fmla="*/ 0 h 3354"/>
                <a:gd name="T36" fmla="*/ 11 w 2193"/>
                <a:gd name="T37" fmla="*/ 2792 h 3354"/>
                <a:gd name="T38" fmla="*/ 44 w 2193"/>
                <a:gd name="T39" fmla="*/ 2780 h 3354"/>
                <a:gd name="T40" fmla="*/ 1917 w 2193"/>
                <a:gd name="T41" fmla="*/ 47 h 3354"/>
                <a:gd name="T42" fmla="*/ 1919 w 2193"/>
                <a:gd name="T43" fmla="*/ 90 h 3354"/>
                <a:gd name="T44" fmla="*/ 1926 w 2193"/>
                <a:gd name="T45" fmla="*/ 0 h 3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93" h="3354">
                  <a:moveTo>
                    <a:pt x="78" y="2813"/>
                  </a:moveTo>
                  <a:lnTo>
                    <a:pt x="0" y="2839"/>
                  </a:lnTo>
                  <a:lnTo>
                    <a:pt x="1742" y="3248"/>
                  </a:lnTo>
                  <a:lnTo>
                    <a:pt x="1744" y="3205"/>
                  </a:lnTo>
                  <a:lnTo>
                    <a:pt x="78" y="2813"/>
                  </a:lnTo>
                  <a:moveTo>
                    <a:pt x="2077" y="2298"/>
                  </a:moveTo>
                  <a:lnTo>
                    <a:pt x="2148" y="3300"/>
                  </a:lnTo>
                  <a:lnTo>
                    <a:pt x="1784" y="3215"/>
                  </a:lnTo>
                  <a:lnTo>
                    <a:pt x="1782" y="3257"/>
                  </a:lnTo>
                  <a:lnTo>
                    <a:pt x="2193" y="3354"/>
                  </a:lnTo>
                  <a:lnTo>
                    <a:pt x="2117" y="2305"/>
                  </a:lnTo>
                  <a:lnTo>
                    <a:pt x="2077" y="2298"/>
                  </a:lnTo>
                  <a:moveTo>
                    <a:pt x="1961" y="87"/>
                  </a:moveTo>
                  <a:lnTo>
                    <a:pt x="1943" y="413"/>
                  </a:lnTo>
                  <a:lnTo>
                    <a:pt x="2073" y="2257"/>
                  </a:lnTo>
                  <a:lnTo>
                    <a:pt x="2115" y="2262"/>
                  </a:lnTo>
                  <a:lnTo>
                    <a:pt x="1961" y="87"/>
                  </a:lnTo>
                  <a:moveTo>
                    <a:pt x="1926" y="0"/>
                  </a:moveTo>
                  <a:lnTo>
                    <a:pt x="11" y="2792"/>
                  </a:lnTo>
                  <a:lnTo>
                    <a:pt x="44" y="2780"/>
                  </a:lnTo>
                  <a:lnTo>
                    <a:pt x="1917" y="47"/>
                  </a:lnTo>
                  <a:lnTo>
                    <a:pt x="1919" y="90"/>
                  </a:lnTo>
                  <a:lnTo>
                    <a:pt x="192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74" name="Freeform 64"/>
            <p:cNvSpPr>
              <a:spLocks noEditPoints="1"/>
            </p:cNvSpPr>
            <p:nvPr/>
          </p:nvSpPr>
          <p:spPr bwMode="auto">
            <a:xfrm>
              <a:off x="1919652" y="3227915"/>
              <a:ext cx="914132" cy="228406"/>
            </a:xfrm>
            <a:custGeom>
              <a:avLst/>
              <a:gdLst>
                <a:gd name="T0" fmla="*/ 1782 w 1801"/>
                <a:gd name="T1" fmla="*/ 402 h 450"/>
                <a:gd name="T2" fmla="*/ 1780 w 1801"/>
                <a:gd name="T3" fmla="*/ 445 h 450"/>
                <a:gd name="T4" fmla="*/ 1799 w 1801"/>
                <a:gd name="T5" fmla="*/ 450 h 450"/>
                <a:gd name="T6" fmla="*/ 1801 w 1801"/>
                <a:gd name="T7" fmla="*/ 407 h 450"/>
                <a:gd name="T8" fmla="*/ 1782 w 1801"/>
                <a:gd name="T9" fmla="*/ 402 h 450"/>
                <a:gd name="T10" fmla="*/ 75 w 1801"/>
                <a:gd name="T11" fmla="*/ 0 h 450"/>
                <a:gd name="T12" fmla="*/ 0 w 1801"/>
                <a:gd name="T13" fmla="*/ 26 h 450"/>
                <a:gd name="T14" fmla="*/ 38 w 1801"/>
                <a:gd name="T15" fmla="*/ 36 h 450"/>
                <a:gd name="T16" fmla="*/ 116 w 1801"/>
                <a:gd name="T17" fmla="*/ 10 h 450"/>
                <a:gd name="T18" fmla="*/ 75 w 1801"/>
                <a:gd name="T19" fmla="*/ 0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01" h="450">
                  <a:moveTo>
                    <a:pt x="1782" y="402"/>
                  </a:moveTo>
                  <a:lnTo>
                    <a:pt x="1780" y="445"/>
                  </a:lnTo>
                  <a:lnTo>
                    <a:pt x="1799" y="450"/>
                  </a:lnTo>
                  <a:lnTo>
                    <a:pt x="1801" y="407"/>
                  </a:lnTo>
                  <a:lnTo>
                    <a:pt x="1782" y="402"/>
                  </a:lnTo>
                  <a:close/>
                  <a:moveTo>
                    <a:pt x="75" y="0"/>
                  </a:moveTo>
                  <a:lnTo>
                    <a:pt x="0" y="26"/>
                  </a:lnTo>
                  <a:lnTo>
                    <a:pt x="38" y="36"/>
                  </a:lnTo>
                  <a:lnTo>
                    <a:pt x="116" y="10"/>
                  </a:lnTo>
                  <a:lnTo>
                    <a:pt x="7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75" name="Freeform 65"/>
            <p:cNvSpPr>
              <a:spLocks noEditPoints="1"/>
            </p:cNvSpPr>
            <p:nvPr/>
          </p:nvSpPr>
          <p:spPr bwMode="auto">
            <a:xfrm>
              <a:off x="1919652" y="3227915"/>
              <a:ext cx="914132" cy="228406"/>
            </a:xfrm>
            <a:custGeom>
              <a:avLst/>
              <a:gdLst>
                <a:gd name="T0" fmla="*/ 1782 w 1801"/>
                <a:gd name="T1" fmla="*/ 402 h 450"/>
                <a:gd name="T2" fmla="*/ 1780 w 1801"/>
                <a:gd name="T3" fmla="*/ 445 h 450"/>
                <a:gd name="T4" fmla="*/ 1799 w 1801"/>
                <a:gd name="T5" fmla="*/ 450 h 450"/>
                <a:gd name="T6" fmla="*/ 1801 w 1801"/>
                <a:gd name="T7" fmla="*/ 407 h 450"/>
                <a:gd name="T8" fmla="*/ 1782 w 1801"/>
                <a:gd name="T9" fmla="*/ 402 h 450"/>
                <a:gd name="T10" fmla="*/ 75 w 1801"/>
                <a:gd name="T11" fmla="*/ 0 h 450"/>
                <a:gd name="T12" fmla="*/ 0 w 1801"/>
                <a:gd name="T13" fmla="*/ 26 h 450"/>
                <a:gd name="T14" fmla="*/ 38 w 1801"/>
                <a:gd name="T15" fmla="*/ 36 h 450"/>
                <a:gd name="T16" fmla="*/ 116 w 1801"/>
                <a:gd name="T17" fmla="*/ 10 h 450"/>
                <a:gd name="T18" fmla="*/ 75 w 1801"/>
                <a:gd name="T19" fmla="*/ 0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01" h="450">
                  <a:moveTo>
                    <a:pt x="1782" y="402"/>
                  </a:moveTo>
                  <a:lnTo>
                    <a:pt x="1780" y="445"/>
                  </a:lnTo>
                  <a:lnTo>
                    <a:pt x="1799" y="450"/>
                  </a:lnTo>
                  <a:lnTo>
                    <a:pt x="1801" y="407"/>
                  </a:lnTo>
                  <a:lnTo>
                    <a:pt x="1782" y="402"/>
                  </a:lnTo>
                  <a:moveTo>
                    <a:pt x="75" y="0"/>
                  </a:moveTo>
                  <a:lnTo>
                    <a:pt x="0" y="26"/>
                  </a:lnTo>
                  <a:lnTo>
                    <a:pt x="38" y="36"/>
                  </a:lnTo>
                  <a:lnTo>
                    <a:pt x="116" y="10"/>
                  </a:lnTo>
                  <a:lnTo>
                    <a:pt x="7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76" name="Freeform 66"/>
            <p:cNvSpPr>
              <a:spLocks/>
            </p:cNvSpPr>
            <p:nvPr/>
          </p:nvSpPr>
          <p:spPr bwMode="auto">
            <a:xfrm>
              <a:off x="1919652" y="1767638"/>
              <a:ext cx="1009048" cy="1473474"/>
            </a:xfrm>
            <a:custGeom>
              <a:avLst/>
              <a:gdLst>
                <a:gd name="T0" fmla="*/ 1988 w 1988"/>
                <a:gd name="T1" fmla="*/ 0 h 2903"/>
                <a:gd name="T2" fmla="*/ 0 w 1988"/>
                <a:gd name="T3" fmla="*/ 2903 h 2903"/>
                <a:gd name="T4" fmla="*/ 75 w 1988"/>
                <a:gd name="T5" fmla="*/ 2877 h 2903"/>
                <a:gd name="T6" fmla="*/ 68 w 1988"/>
                <a:gd name="T7" fmla="*/ 2875 h 2903"/>
                <a:gd name="T8" fmla="*/ 82 w 1988"/>
                <a:gd name="T9" fmla="*/ 2854 h 2903"/>
                <a:gd name="T10" fmla="*/ 49 w 1988"/>
                <a:gd name="T11" fmla="*/ 2866 h 2903"/>
                <a:gd name="T12" fmla="*/ 1964 w 1988"/>
                <a:gd name="T13" fmla="*/ 74 h 2903"/>
                <a:gd name="T14" fmla="*/ 1957 w 1988"/>
                <a:gd name="T15" fmla="*/ 164 h 2903"/>
                <a:gd name="T16" fmla="*/ 1969 w 1988"/>
                <a:gd name="T17" fmla="*/ 324 h 2903"/>
                <a:gd name="T18" fmla="*/ 1988 w 1988"/>
                <a:gd name="T19" fmla="*/ 0 h 2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88" h="2903">
                  <a:moveTo>
                    <a:pt x="1988" y="0"/>
                  </a:moveTo>
                  <a:lnTo>
                    <a:pt x="0" y="2903"/>
                  </a:lnTo>
                  <a:lnTo>
                    <a:pt x="75" y="2877"/>
                  </a:lnTo>
                  <a:lnTo>
                    <a:pt x="68" y="2875"/>
                  </a:lnTo>
                  <a:lnTo>
                    <a:pt x="82" y="2854"/>
                  </a:lnTo>
                  <a:lnTo>
                    <a:pt x="49" y="2866"/>
                  </a:lnTo>
                  <a:lnTo>
                    <a:pt x="1964" y="74"/>
                  </a:lnTo>
                  <a:lnTo>
                    <a:pt x="1957" y="164"/>
                  </a:lnTo>
                  <a:lnTo>
                    <a:pt x="1969" y="324"/>
                  </a:lnTo>
                  <a:lnTo>
                    <a:pt x="198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77" name="Freeform 67"/>
            <p:cNvSpPr>
              <a:spLocks/>
            </p:cNvSpPr>
            <p:nvPr/>
          </p:nvSpPr>
          <p:spPr bwMode="auto">
            <a:xfrm>
              <a:off x="1919652" y="1767638"/>
              <a:ext cx="1009048" cy="1473474"/>
            </a:xfrm>
            <a:custGeom>
              <a:avLst/>
              <a:gdLst>
                <a:gd name="T0" fmla="*/ 1988 w 1988"/>
                <a:gd name="T1" fmla="*/ 0 h 2903"/>
                <a:gd name="T2" fmla="*/ 0 w 1988"/>
                <a:gd name="T3" fmla="*/ 2903 h 2903"/>
                <a:gd name="T4" fmla="*/ 75 w 1988"/>
                <a:gd name="T5" fmla="*/ 2877 h 2903"/>
                <a:gd name="T6" fmla="*/ 68 w 1988"/>
                <a:gd name="T7" fmla="*/ 2875 h 2903"/>
                <a:gd name="T8" fmla="*/ 82 w 1988"/>
                <a:gd name="T9" fmla="*/ 2854 h 2903"/>
                <a:gd name="T10" fmla="*/ 49 w 1988"/>
                <a:gd name="T11" fmla="*/ 2866 h 2903"/>
                <a:gd name="T12" fmla="*/ 1964 w 1988"/>
                <a:gd name="T13" fmla="*/ 74 h 2903"/>
                <a:gd name="T14" fmla="*/ 1957 w 1988"/>
                <a:gd name="T15" fmla="*/ 164 h 2903"/>
                <a:gd name="T16" fmla="*/ 1969 w 1988"/>
                <a:gd name="T17" fmla="*/ 324 h 2903"/>
                <a:gd name="T18" fmla="*/ 1988 w 1988"/>
                <a:gd name="T19" fmla="*/ 0 h 2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88" h="2903">
                  <a:moveTo>
                    <a:pt x="1988" y="0"/>
                  </a:moveTo>
                  <a:lnTo>
                    <a:pt x="0" y="2903"/>
                  </a:lnTo>
                  <a:lnTo>
                    <a:pt x="75" y="2877"/>
                  </a:lnTo>
                  <a:lnTo>
                    <a:pt x="68" y="2875"/>
                  </a:lnTo>
                  <a:lnTo>
                    <a:pt x="82" y="2854"/>
                  </a:lnTo>
                  <a:lnTo>
                    <a:pt x="49" y="2866"/>
                  </a:lnTo>
                  <a:lnTo>
                    <a:pt x="1964" y="74"/>
                  </a:lnTo>
                  <a:lnTo>
                    <a:pt x="1957" y="164"/>
                  </a:lnTo>
                  <a:lnTo>
                    <a:pt x="1969" y="324"/>
                  </a:lnTo>
                  <a:lnTo>
                    <a:pt x="198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78" name="Freeform 68"/>
            <p:cNvSpPr>
              <a:spLocks noEditPoints="1"/>
            </p:cNvSpPr>
            <p:nvPr/>
          </p:nvSpPr>
          <p:spPr bwMode="auto">
            <a:xfrm>
              <a:off x="2832769" y="2961949"/>
              <a:ext cx="180695" cy="496403"/>
            </a:xfrm>
            <a:custGeom>
              <a:avLst/>
              <a:gdLst>
                <a:gd name="T0" fmla="*/ 2 w 356"/>
                <a:gd name="T1" fmla="*/ 931 h 978"/>
                <a:gd name="T2" fmla="*/ 0 w 356"/>
                <a:gd name="T3" fmla="*/ 974 h 978"/>
                <a:gd name="T4" fmla="*/ 21 w 356"/>
                <a:gd name="T5" fmla="*/ 978 h 978"/>
                <a:gd name="T6" fmla="*/ 23 w 356"/>
                <a:gd name="T7" fmla="*/ 936 h 978"/>
                <a:gd name="T8" fmla="*/ 2 w 356"/>
                <a:gd name="T9" fmla="*/ 931 h 978"/>
                <a:gd name="T10" fmla="*/ 314 w 356"/>
                <a:gd name="T11" fmla="*/ 0 h 978"/>
                <a:gd name="T12" fmla="*/ 316 w 356"/>
                <a:gd name="T13" fmla="*/ 19 h 978"/>
                <a:gd name="T14" fmla="*/ 356 w 356"/>
                <a:gd name="T15" fmla="*/ 26 h 978"/>
                <a:gd name="T16" fmla="*/ 356 w 356"/>
                <a:gd name="T17" fmla="*/ 4 h 978"/>
                <a:gd name="T18" fmla="*/ 314 w 356"/>
                <a:gd name="T19" fmla="*/ 0 h 9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6" h="978">
                  <a:moveTo>
                    <a:pt x="2" y="931"/>
                  </a:moveTo>
                  <a:lnTo>
                    <a:pt x="0" y="974"/>
                  </a:lnTo>
                  <a:lnTo>
                    <a:pt x="21" y="978"/>
                  </a:lnTo>
                  <a:lnTo>
                    <a:pt x="23" y="936"/>
                  </a:lnTo>
                  <a:lnTo>
                    <a:pt x="2" y="931"/>
                  </a:lnTo>
                  <a:close/>
                  <a:moveTo>
                    <a:pt x="314" y="0"/>
                  </a:moveTo>
                  <a:lnTo>
                    <a:pt x="316" y="19"/>
                  </a:lnTo>
                  <a:lnTo>
                    <a:pt x="356" y="26"/>
                  </a:lnTo>
                  <a:lnTo>
                    <a:pt x="356" y="4"/>
                  </a:lnTo>
                  <a:lnTo>
                    <a:pt x="31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79" name="Freeform 69"/>
            <p:cNvSpPr>
              <a:spLocks noEditPoints="1"/>
            </p:cNvSpPr>
            <p:nvPr/>
          </p:nvSpPr>
          <p:spPr bwMode="auto">
            <a:xfrm>
              <a:off x="2832769" y="2961949"/>
              <a:ext cx="180695" cy="496403"/>
            </a:xfrm>
            <a:custGeom>
              <a:avLst/>
              <a:gdLst>
                <a:gd name="T0" fmla="*/ 2 w 356"/>
                <a:gd name="T1" fmla="*/ 931 h 978"/>
                <a:gd name="T2" fmla="*/ 0 w 356"/>
                <a:gd name="T3" fmla="*/ 974 h 978"/>
                <a:gd name="T4" fmla="*/ 21 w 356"/>
                <a:gd name="T5" fmla="*/ 978 h 978"/>
                <a:gd name="T6" fmla="*/ 23 w 356"/>
                <a:gd name="T7" fmla="*/ 936 h 978"/>
                <a:gd name="T8" fmla="*/ 2 w 356"/>
                <a:gd name="T9" fmla="*/ 931 h 978"/>
                <a:gd name="T10" fmla="*/ 314 w 356"/>
                <a:gd name="T11" fmla="*/ 0 h 978"/>
                <a:gd name="T12" fmla="*/ 316 w 356"/>
                <a:gd name="T13" fmla="*/ 19 h 978"/>
                <a:gd name="T14" fmla="*/ 356 w 356"/>
                <a:gd name="T15" fmla="*/ 26 h 978"/>
                <a:gd name="T16" fmla="*/ 356 w 356"/>
                <a:gd name="T17" fmla="*/ 4 h 978"/>
                <a:gd name="T18" fmla="*/ 314 w 356"/>
                <a:gd name="T19" fmla="*/ 0 h 9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6" h="978">
                  <a:moveTo>
                    <a:pt x="2" y="931"/>
                  </a:moveTo>
                  <a:lnTo>
                    <a:pt x="0" y="974"/>
                  </a:lnTo>
                  <a:lnTo>
                    <a:pt x="21" y="978"/>
                  </a:lnTo>
                  <a:lnTo>
                    <a:pt x="23" y="936"/>
                  </a:lnTo>
                  <a:lnTo>
                    <a:pt x="2" y="931"/>
                  </a:lnTo>
                  <a:moveTo>
                    <a:pt x="314" y="0"/>
                  </a:moveTo>
                  <a:lnTo>
                    <a:pt x="316" y="19"/>
                  </a:lnTo>
                  <a:lnTo>
                    <a:pt x="356" y="26"/>
                  </a:lnTo>
                  <a:lnTo>
                    <a:pt x="356" y="4"/>
                  </a:lnTo>
                  <a:lnTo>
                    <a:pt x="31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80" name="Freeform 70"/>
            <p:cNvSpPr>
              <a:spLocks noEditPoints="1"/>
            </p:cNvSpPr>
            <p:nvPr/>
          </p:nvSpPr>
          <p:spPr bwMode="auto">
            <a:xfrm>
              <a:off x="2919056" y="1767638"/>
              <a:ext cx="94408" cy="1196341"/>
            </a:xfrm>
            <a:custGeom>
              <a:avLst/>
              <a:gdLst>
                <a:gd name="T0" fmla="*/ 142 w 186"/>
                <a:gd name="T1" fmla="*/ 2331 h 2357"/>
                <a:gd name="T2" fmla="*/ 144 w 186"/>
                <a:gd name="T3" fmla="*/ 2353 h 2357"/>
                <a:gd name="T4" fmla="*/ 186 w 186"/>
                <a:gd name="T5" fmla="*/ 2357 h 2357"/>
                <a:gd name="T6" fmla="*/ 184 w 186"/>
                <a:gd name="T7" fmla="*/ 2336 h 2357"/>
                <a:gd name="T8" fmla="*/ 142 w 186"/>
                <a:gd name="T9" fmla="*/ 2331 h 2357"/>
                <a:gd name="T10" fmla="*/ 19 w 186"/>
                <a:gd name="T11" fmla="*/ 0 h 2357"/>
                <a:gd name="T12" fmla="*/ 19 w 186"/>
                <a:gd name="T13" fmla="*/ 0 h 2357"/>
                <a:gd name="T14" fmla="*/ 0 w 186"/>
                <a:gd name="T15" fmla="*/ 324 h 2357"/>
                <a:gd name="T16" fmla="*/ 12 w 186"/>
                <a:gd name="T17" fmla="*/ 487 h 2357"/>
                <a:gd name="T18" fmla="*/ 30 w 186"/>
                <a:gd name="T19" fmla="*/ 161 h 2357"/>
                <a:gd name="T20" fmla="*/ 19 w 186"/>
                <a:gd name="T21" fmla="*/ 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6" h="2357">
                  <a:moveTo>
                    <a:pt x="142" y="2331"/>
                  </a:moveTo>
                  <a:lnTo>
                    <a:pt x="144" y="2353"/>
                  </a:lnTo>
                  <a:lnTo>
                    <a:pt x="186" y="2357"/>
                  </a:lnTo>
                  <a:lnTo>
                    <a:pt x="184" y="2336"/>
                  </a:lnTo>
                  <a:lnTo>
                    <a:pt x="142" y="2331"/>
                  </a:lnTo>
                  <a:close/>
                  <a:moveTo>
                    <a:pt x="19" y="0"/>
                  </a:moveTo>
                  <a:lnTo>
                    <a:pt x="19" y="0"/>
                  </a:lnTo>
                  <a:lnTo>
                    <a:pt x="0" y="324"/>
                  </a:lnTo>
                  <a:lnTo>
                    <a:pt x="12" y="487"/>
                  </a:lnTo>
                  <a:lnTo>
                    <a:pt x="30" y="161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81" name="Freeform 71"/>
            <p:cNvSpPr>
              <a:spLocks noEditPoints="1"/>
            </p:cNvSpPr>
            <p:nvPr/>
          </p:nvSpPr>
          <p:spPr bwMode="auto">
            <a:xfrm>
              <a:off x="2919056" y="1767638"/>
              <a:ext cx="94408" cy="1196341"/>
            </a:xfrm>
            <a:custGeom>
              <a:avLst/>
              <a:gdLst>
                <a:gd name="T0" fmla="*/ 142 w 186"/>
                <a:gd name="T1" fmla="*/ 2331 h 2357"/>
                <a:gd name="T2" fmla="*/ 144 w 186"/>
                <a:gd name="T3" fmla="*/ 2353 h 2357"/>
                <a:gd name="T4" fmla="*/ 186 w 186"/>
                <a:gd name="T5" fmla="*/ 2357 h 2357"/>
                <a:gd name="T6" fmla="*/ 184 w 186"/>
                <a:gd name="T7" fmla="*/ 2336 h 2357"/>
                <a:gd name="T8" fmla="*/ 142 w 186"/>
                <a:gd name="T9" fmla="*/ 2331 h 2357"/>
                <a:gd name="T10" fmla="*/ 19 w 186"/>
                <a:gd name="T11" fmla="*/ 0 h 2357"/>
                <a:gd name="T12" fmla="*/ 19 w 186"/>
                <a:gd name="T13" fmla="*/ 0 h 2357"/>
                <a:gd name="T14" fmla="*/ 0 w 186"/>
                <a:gd name="T15" fmla="*/ 324 h 2357"/>
                <a:gd name="T16" fmla="*/ 12 w 186"/>
                <a:gd name="T17" fmla="*/ 487 h 2357"/>
                <a:gd name="T18" fmla="*/ 30 w 186"/>
                <a:gd name="T19" fmla="*/ 161 h 2357"/>
                <a:gd name="T20" fmla="*/ 19 w 186"/>
                <a:gd name="T21" fmla="*/ 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6" h="2357">
                  <a:moveTo>
                    <a:pt x="142" y="2331"/>
                  </a:moveTo>
                  <a:lnTo>
                    <a:pt x="144" y="2353"/>
                  </a:lnTo>
                  <a:lnTo>
                    <a:pt x="186" y="2357"/>
                  </a:lnTo>
                  <a:lnTo>
                    <a:pt x="184" y="2336"/>
                  </a:lnTo>
                  <a:lnTo>
                    <a:pt x="142" y="2331"/>
                  </a:lnTo>
                  <a:moveTo>
                    <a:pt x="19" y="0"/>
                  </a:moveTo>
                  <a:lnTo>
                    <a:pt x="19" y="0"/>
                  </a:lnTo>
                  <a:lnTo>
                    <a:pt x="0" y="324"/>
                  </a:lnTo>
                  <a:lnTo>
                    <a:pt x="12" y="487"/>
                  </a:lnTo>
                  <a:lnTo>
                    <a:pt x="30" y="161"/>
                  </a:lnTo>
                  <a:lnTo>
                    <a:pt x="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92" name="Freeform 82"/>
            <p:cNvSpPr>
              <a:spLocks noEditPoints="1"/>
            </p:cNvSpPr>
            <p:nvPr/>
          </p:nvSpPr>
          <p:spPr bwMode="auto">
            <a:xfrm>
              <a:off x="2934283" y="1795554"/>
              <a:ext cx="1057267" cy="1712031"/>
            </a:xfrm>
            <a:custGeom>
              <a:avLst/>
              <a:gdLst>
                <a:gd name="T0" fmla="*/ 156 w 2083"/>
                <a:gd name="T1" fmla="*/ 2324 h 3373"/>
                <a:gd name="T2" fmla="*/ 232 w 2083"/>
                <a:gd name="T3" fmla="*/ 3373 h 3373"/>
                <a:gd name="T4" fmla="*/ 2083 w 2083"/>
                <a:gd name="T5" fmla="*/ 2603 h 3373"/>
                <a:gd name="T6" fmla="*/ 2003 w 2083"/>
                <a:gd name="T7" fmla="*/ 2591 h 3373"/>
                <a:gd name="T8" fmla="*/ 270 w 2083"/>
                <a:gd name="T9" fmla="*/ 3312 h 3373"/>
                <a:gd name="T10" fmla="*/ 199 w 2083"/>
                <a:gd name="T11" fmla="*/ 2331 h 3373"/>
                <a:gd name="T12" fmla="*/ 156 w 2083"/>
                <a:gd name="T13" fmla="*/ 2324 h 3373"/>
                <a:gd name="T14" fmla="*/ 8 w 2083"/>
                <a:gd name="T15" fmla="*/ 0 h 3373"/>
                <a:gd name="T16" fmla="*/ 0 w 2083"/>
                <a:gd name="T17" fmla="*/ 106 h 3373"/>
                <a:gd name="T18" fmla="*/ 154 w 2083"/>
                <a:gd name="T19" fmla="*/ 2281 h 3373"/>
                <a:gd name="T20" fmla="*/ 197 w 2083"/>
                <a:gd name="T21" fmla="*/ 2288 h 3373"/>
                <a:gd name="T22" fmla="*/ 41 w 2083"/>
                <a:gd name="T23" fmla="*/ 73 h 3373"/>
                <a:gd name="T24" fmla="*/ 2040 w 2083"/>
                <a:gd name="T25" fmla="*/ 2553 h 3373"/>
                <a:gd name="T26" fmla="*/ 2071 w 2083"/>
                <a:gd name="T27" fmla="*/ 2558 h 3373"/>
                <a:gd name="T28" fmla="*/ 8 w 2083"/>
                <a:gd name="T29" fmla="*/ 0 h 3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83" h="3373">
                  <a:moveTo>
                    <a:pt x="156" y="2324"/>
                  </a:moveTo>
                  <a:lnTo>
                    <a:pt x="232" y="3373"/>
                  </a:lnTo>
                  <a:lnTo>
                    <a:pt x="2083" y="2603"/>
                  </a:lnTo>
                  <a:lnTo>
                    <a:pt x="2003" y="2591"/>
                  </a:lnTo>
                  <a:lnTo>
                    <a:pt x="270" y="3312"/>
                  </a:lnTo>
                  <a:lnTo>
                    <a:pt x="199" y="2331"/>
                  </a:lnTo>
                  <a:lnTo>
                    <a:pt x="156" y="2324"/>
                  </a:lnTo>
                  <a:close/>
                  <a:moveTo>
                    <a:pt x="8" y="0"/>
                  </a:moveTo>
                  <a:lnTo>
                    <a:pt x="0" y="106"/>
                  </a:lnTo>
                  <a:lnTo>
                    <a:pt x="154" y="2281"/>
                  </a:lnTo>
                  <a:lnTo>
                    <a:pt x="197" y="2288"/>
                  </a:lnTo>
                  <a:lnTo>
                    <a:pt x="41" y="73"/>
                  </a:lnTo>
                  <a:lnTo>
                    <a:pt x="2040" y="2553"/>
                  </a:lnTo>
                  <a:lnTo>
                    <a:pt x="2071" y="2558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93" name="Freeform 83"/>
            <p:cNvSpPr>
              <a:spLocks noEditPoints="1"/>
            </p:cNvSpPr>
            <p:nvPr/>
          </p:nvSpPr>
          <p:spPr bwMode="auto">
            <a:xfrm>
              <a:off x="2934283" y="1795554"/>
              <a:ext cx="1057267" cy="1712031"/>
            </a:xfrm>
            <a:custGeom>
              <a:avLst/>
              <a:gdLst>
                <a:gd name="T0" fmla="*/ 156 w 2083"/>
                <a:gd name="T1" fmla="*/ 2324 h 3373"/>
                <a:gd name="T2" fmla="*/ 232 w 2083"/>
                <a:gd name="T3" fmla="*/ 3373 h 3373"/>
                <a:gd name="T4" fmla="*/ 2083 w 2083"/>
                <a:gd name="T5" fmla="*/ 2603 h 3373"/>
                <a:gd name="T6" fmla="*/ 2003 w 2083"/>
                <a:gd name="T7" fmla="*/ 2591 h 3373"/>
                <a:gd name="T8" fmla="*/ 270 w 2083"/>
                <a:gd name="T9" fmla="*/ 3312 h 3373"/>
                <a:gd name="T10" fmla="*/ 199 w 2083"/>
                <a:gd name="T11" fmla="*/ 2331 h 3373"/>
                <a:gd name="T12" fmla="*/ 156 w 2083"/>
                <a:gd name="T13" fmla="*/ 2324 h 3373"/>
                <a:gd name="T14" fmla="*/ 8 w 2083"/>
                <a:gd name="T15" fmla="*/ 0 h 3373"/>
                <a:gd name="T16" fmla="*/ 0 w 2083"/>
                <a:gd name="T17" fmla="*/ 106 h 3373"/>
                <a:gd name="T18" fmla="*/ 154 w 2083"/>
                <a:gd name="T19" fmla="*/ 2281 h 3373"/>
                <a:gd name="T20" fmla="*/ 197 w 2083"/>
                <a:gd name="T21" fmla="*/ 2288 h 3373"/>
                <a:gd name="T22" fmla="*/ 41 w 2083"/>
                <a:gd name="T23" fmla="*/ 73 h 3373"/>
                <a:gd name="T24" fmla="*/ 2040 w 2083"/>
                <a:gd name="T25" fmla="*/ 2553 h 3373"/>
                <a:gd name="T26" fmla="*/ 2071 w 2083"/>
                <a:gd name="T27" fmla="*/ 2558 h 3373"/>
                <a:gd name="T28" fmla="*/ 8 w 2083"/>
                <a:gd name="T29" fmla="*/ 0 h 3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83" h="3373">
                  <a:moveTo>
                    <a:pt x="156" y="2324"/>
                  </a:moveTo>
                  <a:lnTo>
                    <a:pt x="232" y="3373"/>
                  </a:lnTo>
                  <a:lnTo>
                    <a:pt x="2083" y="2603"/>
                  </a:lnTo>
                  <a:lnTo>
                    <a:pt x="2003" y="2591"/>
                  </a:lnTo>
                  <a:lnTo>
                    <a:pt x="270" y="3312"/>
                  </a:lnTo>
                  <a:lnTo>
                    <a:pt x="199" y="2331"/>
                  </a:lnTo>
                  <a:lnTo>
                    <a:pt x="156" y="2324"/>
                  </a:lnTo>
                  <a:moveTo>
                    <a:pt x="8" y="0"/>
                  </a:moveTo>
                  <a:lnTo>
                    <a:pt x="0" y="106"/>
                  </a:lnTo>
                  <a:lnTo>
                    <a:pt x="154" y="2281"/>
                  </a:lnTo>
                  <a:lnTo>
                    <a:pt x="197" y="2288"/>
                  </a:lnTo>
                  <a:lnTo>
                    <a:pt x="41" y="73"/>
                  </a:lnTo>
                  <a:lnTo>
                    <a:pt x="2040" y="2553"/>
                  </a:lnTo>
                  <a:lnTo>
                    <a:pt x="2071" y="2558"/>
                  </a:lnTo>
                  <a:lnTo>
                    <a:pt x="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94" name="Freeform 84"/>
            <p:cNvSpPr>
              <a:spLocks noEditPoints="1"/>
            </p:cNvSpPr>
            <p:nvPr/>
          </p:nvSpPr>
          <p:spPr bwMode="auto">
            <a:xfrm>
              <a:off x="3013464" y="2963979"/>
              <a:ext cx="997374" cy="152778"/>
            </a:xfrm>
            <a:custGeom>
              <a:avLst/>
              <a:gdLst>
                <a:gd name="T0" fmla="*/ 1884 w 1965"/>
                <a:gd name="T1" fmla="*/ 272 h 301"/>
                <a:gd name="T2" fmla="*/ 1847 w 1965"/>
                <a:gd name="T3" fmla="*/ 289 h 301"/>
                <a:gd name="T4" fmla="*/ 1927 w 1965"/>
                <a:gd name="T5" fmla="*/ 301 h 301"/>
                <a:gd name="T6" fmla="*/ 1965 w 1965"/>
                <a:gd name="T7" fmla="*/ 284 h 301"/>
                <a:gd name="T8" fmla="*/ 1884 w 1965"/>
                <a:gd name="T9" fmla="*/ 272 h 301"/>
                <a:gd name="T10" fmla="*/ 0 w 1965"/>
                <a:gd name="T11" fmla="*/ 0 h 301"/>
                <a:gd name="T12" fmla="*/ 0 w 1965"/>
                <a:gd name="T13" fmla="*/ 22 h 301"/>
                <a:gd name="T14" fmla="*/ 43 w 1965"/>
                <a:gd name="T15" fmla="*/ 29 h 301"/>
                <a:gd name="T16" fmla="*/ 43 w 1965"/>
                <a:gd name="T17" fmla="*/ 7 h 301"/>
                <a:gd name="T18" fmla="*/ 0 w 1965"/>
                <a:gd name="T19" fmla="*/ 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65" h="301">
                  <a:moveTo>
                    <a:pt x="1884" y="272"/>
                  </a:moveTo>
                  <a:lnTo>
                    <a:pt x="1847" y="289"/>
                  </a:lnTo>
                  <a:lnTo>
                    <a:pt x="1927" y="301"/>
                  </a:lnTo>
                  <a:lnTo>
                    <a:pt x="1965" y="284"/>
                  </a:lnTo>
                  <a:lnTo>
                    <a:pt x="1884" y="272"/>
                  </a:lnTo>
                  <a:close/>
                  <a:moveTo>
                    <a:pt x="0" y="0"/>
                  </a:moveTo>
                  <a:lnTo>
                    <a:pt x="0" y="22"/>
                  </a:lnTo>
                  <a:lnTo>
                    <a:pt x="43" y="29"/>
                  </a:lnTo>
                  <a:lnTo>
                    <a:pt x="43" y="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95" name="Freeform 85"/>
            <p:cNvSpPr>
              <a:spLocks noEditPoints="1"/>
            </p:cNvSpPr>
            <p:nvPr/>
          </p:nvSpPr>
          <p:spPr bwMode="auto">
            <a:xfrm>
              <a:off x="3013464" y="2963979"/>
              <a:ext cx="997374" cy="152778"/>
            </a:xfrm>
            <a:custGeom>
              <a:avLst/>
              <a:gdLst>
                <a:gd name="T0" fmla="*/ 1884 w 1965"/>
                <a:gd name="T1" fmla="*/ 272 h 301"/>
                <a:gd name="T2" fmla="*/ 1847 w 1965"/>
                <a:gd name="T3" fmla="*/ 289 h 301"/>
                <a:gd name="T4" fmla="*/ 1927 w 1965"/>
                <a:gd name="T5" fmla="*/ 301 h 301"/>
                <a:gd name="T6" fmla="*/ 1965 w 1965"/>
                <a:gd name="T7" fmla="*/ 284 h 301"/>
                <a:gd name="T8" fmla="*/ 1884 w 1965"/>
                <a:gd name="T9" fmla="*/ 272 h 301"/>
                <a:gd name="T10" fmla="*/ 0 w 1965"/>
                <a:gd name="T11" fmla="*/ 0 h 301"/>
                <a:gd name="T12" fmla="*/ 0 w 1965"/>
                <a:gd name="T13" fmla="*/ 22 h 301"/>
                <a:gd name="T14" fmla="*/ 43 w 1965"/>
                <a:gd name="T15" fmla="*/ 29 h 301"/>
                <a:gd name="T16" fmla="*/ 43 w 1965"/>
                <a:gd name="T17" fmla="*/ 7 h 301"/>
                <a:gd name="T18" fmla="*/ 0 w 1965"/>
                <a:gd name="T19" fmla="*/ 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65" h="301">
                  <a:moveTo>
                    <a:pt x="1884" y="272"/>
                  </a:moveTo>
                  <a:lnTo>
                    <a:pt x="1847" y="289"/>
                  </a:lnTo>
                  <a:lnTo>
                    <a:pt x="1927" y="301"/>
                  </a:lnTo>
                  <a:lnTo>
                    <a:pt x="1965" y="284"/>
                  </a:lnTo>
                  <a:lnTo>
                    <a:pt x="1884" y="272"/>
                  </a:lnTo>
                  <a:moveTo>
                    <a:pt x="0" y="0"/>
                  </a:moveTo>
                  <a:lnTo>
                    <a:pt x="0" y="22"/>
                  </a:lnTo>
                  <a:lnTo>
                    <a:pt x="43" y="29"/>
                  </a:lnTo>
                  <a:lnTo>
                    <a:pt x="43" y="7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96" name="Freeform 86"/>
            <p:cNvSpPr>
              <a:spLocks noEditPoints="1"/>
            </p:cNvSpPr>
            <p:nvPr/>
          </p:nvSpPr>
          <p:spPr bwMode="auto">
            <a:xfrm>
              <a:off x="2928700" y="1767638"/>
              <a:ext cx="1082138" cy="1340491"/>
            </a:xfrm>
            <a:custGeom>
              <a:avLst/>
              <a:gdLst>
                <a:gd name="T0" fmla="*/ 165 w 2132"/>
                <a:gd name="T1" fmla="*/ 2336 h 2641"/>
                <a:gd name="T2" fmla="*/ 167 w 2132"/>
                <a:gd name="T3" fmla="*/ 2357 h 2641"/>
                <a:gd name="T4" fmla="*/ 210 w 2132"/>
                <a:gd name="T5" fmla="*/ 2364 h 2641"/>
                <a:gd name="T6" fmla="*/ 208 w 2132"/>
                <a:gd name="T7" fmla="*/ 2343 h 2641"/>
                <a:gd name="T8" fmla="*/ 165 w 2132"/>
                <a:gd name="T9" fmla="*/ 2336 h 2641"/>
                <a:gd name="T10" fmla="*/ 0 w 2132"/>
                <a:gd name="T11" fmla="*/ 0 h 2641"/>
                <a:gd name="T12" fmla="*/ 11 w 2132"/>
                <a:gd name="T13" fmla="*/ 161 h 2641"/>
                <a:gd name="T14" fmla="*/ 19 w 2132"/>
                <a:gd name="T15" fmla="*/ 55 h 2641"/>
                <a:gd name="T16" fmla="*/ 2082 w 2132"/>
                <a:gd name="T17" fmla="*/ 2613 h 2641"/>
                <a:gd name="T18" fmla="*/ 2051 w 2132"/>
                <a:gd name="T19" fmla="*/ 2608 h 2641"/>
                <a:gd name="T20" fmla="*/ 2066 w 2132"/>
                <a:gd name="T21" fmla="*/ 2624 h 2641"/>
                <a:gd name="T22" fmla="*/ 2051 w 2132"/>
                <a:gd name="T23" fmla="*/ 2629 h 2641"/>
                <a:gd name="T24" fmla="*/ 2132 w 2132"/>
                <a:gd name="T25" fmla="*/ 2641 h 2641"/>
                <a:gd name="T26" fmla="*/ 0 w 2132"/>
                <a:gd name="T27" fmla="*/ 0 h 2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32" h="2641">
                  <a:moveTo>
                    <a:pt x="165" y="2336"/>
                  </a:moveTo>
                  <a:lnTo>
                    <a:pt x="167" y="2357"/>
                  </a:lnTo>
                  <a:lnTo>
                    <a:pt x="210" y="2364"/>
                  </a:lnTo>
                  <a:lnTo>
                    <a:pt x="208" y="2343"/>
                  </a:lnTo>
                  <a:lnTo>
                    <a:pt x="165" y="2336"/>
                  </a:lnTo>
                  <a:close/>
                  <a:moveTo>
                    <a:pt x="0" y="0"/>
                  </a:moveTo>
                  <a:lnTo>
                    <a:pt x="11" y="161"/>
                  </a:lnTo>
                  <a:lnTo>
                    <a:pt x="19" y="55"/>
                  </a:lnTo>
                  <a:lnTo>
                    <a:pt x="2082" y="2613"/>
                  </a:lnTo>
                  <a:lnTo>
                    <a:pt x="2051" y="2608"/>
                  </a:lnTo>
                  <a:lnTo>
                    <a:pt x="2066" y="2624"/>
                  </a:lnTo>
                  <a:lnTo>
                    <a:pt x="2051" y="2629"/>
                  </a:lnTo>
                  <a:lnTo>
                    <a:pt x="2132" y="264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97" name="Freeform 87"/>
            <p:cNvSpPr>
              <a:spLocks noEditPoints="1"/>
            </p:cNvSpPr>
            <p:nvPr/>
          </p:nvSpPr>
          <p:spPr bwMode="auto">
            <a:xfrm>
              <a:off x="2928700" y="1767638"/>
              <a:ext cx="1082138" cy="1340491"/>
            </a:xfrm>
            <a:custGeom>
              <a:avLst/>
              <a:gdLst>
                <a:gd name="T0" fmla="*/ 165 w 2132"/>
                <a:gd name="T1" fmla="*/ 2336 h 2641"/>
                <a:gd name="T2" fmla="*/ 167 w 2132"/>
                <a:gd name="T3" fmla="*/ 2357 h 2641"/>
                <a:gd name="T4" fmla="*/ 210 w 2132"/>
                <a:gd name="T5" fmla="*/ 2364 h 2641"/>
                <a:gd name="T6" fmla="*/ 208 w 2132"/>
                <a:gd name="T7" fmla="*/ 2343 h 2641"/>
                <a:gd name="T8" fmla="*/ 165 w 2132"/>
                <a:gd name="T9" fmla="*/ 2336 h 2641"/>
                <a:gd name="T10" fmla="*/ 0 w 2132"/>
                <a:gd name="T11" fmla="*/ 0 h 2641"/>
                <a:gd name="T12" fmla="*/ 11 w 2132"/>
                <a:gd name="T13" fmla="*/ 161 h 2641"/>
                <a:gd name="T14" fmla="*/ 19 w 2132"/>
                <a:gd name="T15" fmla="*/ 55 h 2641"/>
                <a:gd name="T16" fmla="*/ 2082 w 2132"/>
                <a:gd name="T17" fmla="*/ 2613 h 2641"/>
                <a:gd name="T18" fmla="*/ 2051 w 2132"/>
                <a:gd name="T19" fmla="*/ 2608 h 2641"/>
                <a:gd name="T20" fmla="*/ 2066 w 2132"/>
                <a:gd name="T21" fmla="*/ 2624 h 2641"/>
                <a:gd name="T22" fmla="*/ 2051 w 2132"/>
                <a:gd name="T23" fmla="*/ 2629 h 2641"/>
                <a:gd name="T24" fmla="*/ 2132 w 2132"/>
                <a:gd name="T25" fmla="*/ 2641 h 2641"/>
                <a:gd name="T26" fmla="*/ 0 w 2132"/>
                <a:gd name="T27" fmla="*/ 0 h 2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32" h="2641">
                  <a:moveTo>
                    <a:pt x="165" y="2336"/>
                  </a:moveTo>
                  <a:lnTo>
                    <a:pt x="167" y="2357"/>
                  </a:lnTo>
                  <a:lnTo>
                    <a:pt x="210" y="2364"/>
                  </a:lnTo>
                  <a:lnTo>
                    <a:pt x="208" y="2343"/>
                  </a:lnTo>
                  <a:lnTo>
                    <a:pt x="165" y="2336"/>
                  </a:lnTo>
                  <a:moveTo>
                    <a:pt x="0" y="0"/>
                  </a:moveTo>
                  <a:lnTo>
                    <a:pt x="11" y="161"/>
                  </a:lnTo>
                  <a:lnTo>
                    <a:pt x="19" y="55"/>
                  </a:lnTo>
                  <a:lnTo>
                    <a:pt x="2082" y="2613"/>
                  </a:lnTo>
                  <a:lnTo>
                    <a:pt x="2051" y="2608"/>
                  </a:lnTo>
                  <a:lnTo>
                    <a:pt x="2066" y="2624"/>
                  </a:lnTo>
                  <a:lnTo>
                    <a:pt x="2051" y="2629"/>
                  </a:lnTo>
                  <a:lnTo>
                    <a:pt x="2132" y="264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5"/>
            <p:cNvSpPr>
              <a:spLocks/>
            </p:cNvSpPr>
            <p:nvPr/>
          </p:nvSpPr>
          <p:spPr bwMode="auto">
            <a:xfrm>
              <a:off x="1919398" y="1767637"/>
              <a:ext cx="1132894" cy="1739947"/>
            </a:xfrm>
            <a:custGeom>
              <a:avLst/>
              <a:gdLst>
                <a:gd name="T0" fmla="*/ 1988 w 2232"/>
                <a:gd name="T1" fmla="*/ 0 h 3428"/>
                <a:gd name="T2" fmla="*/ 0 w 2232"/>
                <a:gd name="T3" fmla="*/ 2903 h 3428"/>
                <a:gd name="T4" fmla="*/ 2232 w 2232"/>
                <a:gd name="T5" fmla="*/ 3428 h 3428"/>
                <a:gd name="T6" fmla="*/ 1988 w 2232"/>
                <a:gd name="T7" fmla="*/ 0 h 3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32" h="3428">
                  <a:moveTo>
                    <a:pt x="1988" y="0"/>
                  </a:moveTo>
                  <a:lnTo>
                    <a:pt x="0" y="2903"/>
                  </a:lnTo>
                  <a:lnTo>
                    <a:pt x="2232" y="3428"/>
                  </a:lnTo>
                  <a:lnTo>
                    <a:pt x="1988" y="0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  <a:alpha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6"/>
            <p:cNvSpPr>
              <a:spLocks/>
            </p:cNvSpPr>
            <p:nvPr/>
          </p:nvSpPr>
          <p:spPr bwMode="auto">
            <a:xfrm>
              <a:off x="1919398" y="1767637"/>
              <a:ext cx="1132894" cy="1739947"/>
            </a:xfrm>
            <a:custGeom>
              <a:avLst/>
              <a:gdLst>
                <a:gd name="T0" fmla="*/ 1988 w 2232"/>
                <a:gd name="T1" fmla="*/ 0 h 3428"/>
                <a:gd name="T2" fmla="*/ 0 w 2232"/>
                <a:gd name="T3" fmla="*/ 2903 h 3428"/>
                <a:gd name="T4" fmla="*/ 2232 w 2232"/>
                <a:gd name="T5" fmla="*/ 3428 h 3428"/>
                <a:gd name="T6" fmla="*/ 1988 w 2232"/>
                <a:gd name="T7" fmla="*/ 0 h 3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32" h="3428">
                  <a:moveTo>
                    <a:pt x="1988" y="0"/>
                  </a:moveTo>
                  <a:lnTo>
                    <a:pt x="0" y="2903"/>
                  </a:lnTo>
                  <a:lnTo>
                    <a:pt x="2232" y="3428"/>
                  </a:lnTo>
                  <a:lnTo>
                    <a:pt x="198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41" name="Freeform 31"/>
            <p:cNvSpPr>
              <a:spLocks/>
            </p:cNvSpPr>
            <p:nvPr/>
          </p:nvSpPr>
          <p:spPr bwMode="auto">
            <a:xfrm>
              <a:off x="2928446" y="1767637"/>
              <a:ext cx="1082137" cy="1739947"/>
            </a:xfrm>
            <a:custGeom>
              <a:avLst/>
              <a:gdLst>
                <a:gd name="T0" fmla="*/ 0 w 2132"/>
                <a:gd name="T1" fmla="*/ 0 h 3428"/>
                <a:gd name="T2" fmla="*/ 244 w 2132"/>
                <a:gd name="T3" fmla="*/ 3428 h 3428"/>
                <a:gd name="T4" fmla="*/ 2132 w 2132"/>
                <a:gd name="T5" fmla="*/ 2641 h 3428"/>
                <a:gd name="T6" fmla="*/ 0 w 2132"/>
                <a:gd name="T7" fmla="*/ 0 h 3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32" h="3428">
                  <a:moveTo>
                    <a:pt x="0" y="0"/>
                  </a:moveTo>
                  <a:lnTo>
                    <a:pt x="244" y="3428"/>
                  </a:lnTo>
                  <a:lnTo>
                    <a:pt x="2132" y="264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>
                <a:alpha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42" name="Freeform 32"/>
            <p:cNvSpPr>
              <a:spLocks/>
            </p:cNvSpPr>
            <p:nvPr/>
          </p:nvSpPr>
          <p:spPr bwMode="auto">
            <a:xfrm>
              <a:off x="2928446" y="1767637"/>
              <a:ext cx="1082137" cy="1739947"/>
            </a:xfrm>
            <a:custGeom>
              <a:avLst/>
              <a:gdLst>
                <a:gd name="T0" fmla="*/ 0 w 2132"/>
                <a:gd name="T1" fmla="*/ 0 h 3428"/>
                <a:gd name="T2" fmla="*/ 244 w 2132"/>
                <a:gd name="T3" fmla="*/ 3428 h 3428"/>
                <a:gd name="T4" fmla="*/ 2132 w 2132"/>
                <a:gd name="T5" fmla="*/ 2641 h 3428"/>
                <a:gd name="T6" fmla="*/ 0 w 2132"/>
                <a:gd name="T7" fmla="*/ 0 h 3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32" h="3428">
                  <a:moveTo>
                    <a:pt x="0" y="0"/>
                  </a:moveTo>
                  <a:lnTo>
                    <a:pt x="244" y="3428"/>
                  </a:lnTo>
                  <a:lnTo>
                    <a:pt x="2132" y="264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xmlns="" id="{2534D9AD-61D5-4623-A077-B6D503D229C2}"/>
              </a:ext>
            </a:extLst>
          </p:cNvPr>
          <p:cNvGrpSpPr/>
          <p:nvPr/>
        </p:nvGrpSpPr>
        <p:grpSpPr>
          <a:xfrm>
            <a:off x="1611173" y="5068017"/>
            <a:ext cx="380170" cy="476100"/>
            <a:chOff x="1763573" y="5068017"/>
            <a:chExt cx="380170" cy="476100"/>
          </a:xfrm>
        </p:grpSpPr>
        <p:sp>
          <p:nvSpPr>
            <p:cNvPr id="36302" name="Freeform 264"/>
            <p:cNvSpPr>
              <a:spLocks/>
            </p:cNvSpPr>
            <p:nvPr/>
          </p:nvSpPr>
          <p:spPr bwMode="auto">
            <a:xfrm>
              <a:off x="1837678" y="5340074"/>
              <a:ext cx="122325" cy="161914"/>
            </a:xfrm>
            <a:custGeom>
              <a:avLst/>
              <a:gdLst>
                <a:gd name="T0" fmla="*/ 48 w 102"/>
                <a:gd name="T1" fmla="*/ 135 h 135"/>
                <a:gd name="T2" fmla="*/ 56 w 102"/>
                <a:gd name="T3" fmla="*/ 127 h 135"/>
                <a:gd name="T4" fmla="*/ 56 w 102"/>
                <a:gd name="T5" fmla="*/ 119 h 135"/>
                <a:gd name="T6" fmla="*/ 70 w 102"/>
                <a:gd name="T7" fmla="*/ 117 h 135"/>
                <a:gd name="T8" fmla="*/ 87 w 102"/>
                <a:gd name="T9" fmla="*/ 110 h 135"/>
                <a:gd name="T10" fmla="*/ 98 w 102"/>
                <a:gd name="T11" fmla="*/ 97 h 135"/>
                <a:gd name="T12" fmla="*/ 102 w 102"/>
                <a:gd name="T13" fmla="*/ 81 h 135"/>
                <a:gd name="T14" fmla="*/ 96 w 102"/>
                <a:gd name="T15" fmla="*/ 64 h 135"/>
                <a:gd name="T16" fmla="*/ 78 w 102"/>
                <a:gd name="T17" fmla="*/ 53 h 135"/>
                <a:gd name="T18" fmla="*/ 73 w 102"/>
                <a:gd name="T19" fmla="*/ 52 h 135"/>
                <a:gd name="T20" fmla="*/ 64 w 102"/>
                <a:gd name="T21" fmla="*/ 49 h 135"/>
                <a:gd name="T22" fmla="*/ 63 w 102"/>
                <a:gd name="T23" fmla="*/ 49 h 135"/>
                <a:gd name="T24" fmla="*/ 53 w 102"/>
                <a:gd name="T25" fmla="*/ 46 h 135"/>
                <a:gd name="T26" fmla="*/ 42 w 102"/>
                <a:gd name="T27" fmla="*/ 44 h 135"/>
                <a:gd name="T28" fmla="*/ 34 w 102"/>
                <a:gd name="T29" fmla="*/ 40 h 135"/>
                <a:gd name="T30" fmla="*/ 28 w 102"/>
                <a:gd name="T31" fmla="*/ 36 h 135"/>
                <a:gd name="T32" fmla="*/ 26 w 102"/>
                <a:gd name="T33" fmla="*/ 30 h 135"/>
                <a:gd name="T34" fmla="*/ 28 w 102"/>
                <a:gd name="T35" fmla="*/ 25 h 135"/>
                <a:gd name="T36" fmla="*/ 33 w 102"/>
                <a:gd name="T37" fmla="*/ 20 h 135"/>
                <a:gd name="T38" fmla="*/ 35 w 102"/>
                <a:gd name="T39" fmla="*/ 19 h 135"/>
                <a:gd name="T40" fmla="*/ 33 w 102"/>
                <a:gd name="T41" fmla="*/ 4 h 135"/>
                <a:gd name="T42" fmla="*/ 33 w 102"/>
                <a:gd name="T43" fmla="*/ 0 h 135"/>
                <a:gd name="T44" fmla="*/ 30 w 102"/>
                <a:gd name="T45" fmla="*/ 0 h 135"/>
                <a:gd name="T46" fmla="*/ 14 w 102"/>
                <a:gd name="T47" fmla="*/ 6 h 135"/>
                <a:gd name="T48" fmla="*/ 4 w 102"/>
                <a:gd name="T49" fmla="*/ 17 h 135"/>
                <a:gd name="T50" fmla="*/ 0 w 102"/>
                <a:gd name="T51" fmla="*/ 31 h 135"/>
                <a:gd name="T52" fmla="*/ 2 w 102"/>
                <a:gd name="T53" fmla="*/ 43 h 135"/>
                <a:gd name="T54" fmla="*/ 9 w 102"/>
                <a:gd name="T55" fmla="*/ 52 h 135"/>
                <a:gd name="T56" fmla="*/ 19 w 102"/>
                <a:gd name="T57" fmla="*/ 58 h 135"/>
                <a:gd name="T58" fmla="*/ 32 w 102"/>
                <a:gd name="T59" fmla="*/ 62 h 135"/>
                <a:gd name="T60" fmla="*/ 46 w 102"/>
                <a:gd name="T61" fmla="*/ 66 h 135"/>
                <a:gd name="T62" fmla="*/ 62 w 102"/>
                <a:gd name="T63" fmla="*/ 70 h 135"/>
                <a:gd name="T64" fmla="*/ 73 w 102"/>
                <a:gd name="T65" fmla="*/ 75 h 135"/>
                <a:gd name="T66" fmla="*/ 76 w 102"/>
                <a:gd name="T67" fmla="*/ 83 h 135"/>
                <a:gd name="T68" fmla="*/ 74 w 102"/>
                <a:gd name="T69" fmla="*/ 91 h 135"/>
                <a:gd name="T70" fmla="*/ 68 w 102"/>
                <a:gd name="T71" fmla="*/ 97 h 135"/>
                <a:gd name="T72" fmla="*/ 60 w 102"/>
                <a:gd name="T73" fmla="*/ 100 h 135"/>
                <a:gd name="T74" fmla="*/ 51 w 102"/>
                <a:gd name="T75" fmla="*/ 101 h 135"/>
                <a:gd name="T76" fmla="*/ 37 w 102"/>
                <a:gd name="T77" fmla="*/ 100 h 135"/>
                <a:gd name="T78" fmla="*/ 25 w 102"/>
                <a:gd name="T79" fmla="*/ 96 h 135"/>
                <a:gd name="T80" fmla="*/ 15 w 102"/>
                <a:gd name="T81" fmla="*/ 92 h 135"/>
                <a:gd name="T82" fmla="*/ 9 w 102"/>
                <a:gd name="T83" fmla="*/ 91 h 135"/>
                <a:gd name="T84" fmla="*/ 2 w 102"/>
                <a:gd name="T85" fmla="*/ 93 h 135"/>
                <a:gd name="T86" fmla="*/ 0 w 102"/>
                <a:gd name="T87" fmla="*/ 99 h 135"/>
                <a:gd name="T88" fmla="*/ 4 w 102"/>
                <a:gd name="T89" fmla="*/ 107 h 135"/>
                <a:gd name="T90" fmla="*/ 14 w 102"/>
                <a:gd name="T91" fmla="*/ 113 h 135"/>
                <a:gd name="T92" fmla="*/ 30 w 102"/>
                <a:gd name="T93" fmla="*/ 118 h 135"/>
                <a:gd name="T94" fmla="*/ 41 w 102"/>
                <a:gd name="T95" fmla="*/ 119 h 135"/>
                <a:gd name="T96" fmla="*/ 41 w 102"/>
                <a:gd name="T97" fmla="*/ 127 h 135"/>
                <a:gd name="T98" fmla="*/ 48 w 102"/>
                <a:gd name="T99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2" h="135">
                  <a:moveTo>
                    <a:pt x="48" y="135"/>
                  </a:moveTo>
                  <a:cubicBezTo>
                    <a:pt x="52" y="135"/>
                    <a:pt x="56" y="131"/>
                    <a:pt x="56" y="127"/>
                  </a:cubicBezTo>
                  <a:cubicBezTo>
                    <a:pt x="56" y="119"/>
                    <a:pt x="56" y="119"/>
                    <a:pt x="56" y="119"/>
                  </a:cubicBezTo>
                  <a:cubicBezTo>
                    <a:pt x="61" y="119"/>
                    <a:pt x="65" y="118"/>
                    <a:pt x="70" y="117"/>
                  </a:cubicBezTo>
                  <a:cubicBezTo>
                    <a:pt x="76" y="115"/>
                    <a:pt x="82" y="113"/>
                    <a:pt x="87" y="110"/>
                  </a:cubicBezTo>
                  <a:cubicBezTo>
                    <a:pt x="91" y="107"/>
                    <a:pt x="95" y="102"/>
                    <a:pt x="98" y="97"/>
                  </a:cubicBezTo>
                  <a:cubicBezTo>
                    <a:pt x="101" y="93"/>
                    <a:pt x="102" y="87"/>
                    <a:pt x="102" y="81"/>
                  </a:cubicBezTo>
                  <a:cubicBezTo>
                    <a:pt x="102" y="74"/>
                    <a:pt x="100" y="68"/>
                    <a:pt x="96" y="64"/>
                  </a:cubicBezTo>
                  <a:cubicBezTo>
                    <a:pt x="91" y="59"/>
                    <a:pt x="85" y="55"/>
                    <a:pt x="78" y="53"/>
                  </a:cubicBezTo>
                  <a:cubicBezTo>
                    <a:pt x="76" y="53"/>
                    <a:pt x="75" y="52"/>
                    <a:pt x="73" y="52"/>
                  </a:cubicBezTo>
                  <a:cubicBezTo>
                    <a:pt x="70" y="51"/>
                    <a:pt x="67" y="50"/>
                    <a:pt x="64" y="49"/>
                  </a:cubicBezTo>
                  <a:cubicBezTo>
                    <a:pt x="64" y="49"/>
                    <a:pt x="63" y="49"/>
                    <a:pt x="63" y="49"/>
                  </a:cubicBezTo>
                  <a:cubicBezTo>
                    <a:pt x="60" y="48"/>
                    <a:pt x="56" y="47"/>
                    <a:pt x="53" y="46"/>
                  </a:cubicBezTo>
                  <a:cubicBezTo>
                    <a:pt x="49" y="45"/>
                    <a:pt x="46" y="44"/>
                    <a:pt x="42" y="44"/>
                  </a:cubicBezTo>
                  <a:cubicBezTo>
                    <a:pt x="39" y="43"/>
                    <a:pt x="36" y="42"/>
                    <a:pt x="34" y="40"/>
                  </a:cubicBezTo>
                  <a:cubicBezTo>
                    <a:pt x="31" y="39"/>
                    <a:pt x="29" y="38"/>
                    <a:pt x="28" y="36"/>
                  </a:cubicBezTo>
                  <a:cubicBezTo>
                    <a:pt x="26" y="34"/>
                    <a:pt x="26" y="32"/>
                    <a:pt x="26" y="30"/>
                  </a:cubicBezTo>
                  <a:cubicBezTo>
                    <a:pt x="26" y="28"/>
                    <a:pt x="26" y="27"/>
                    <a:pt x="28" y="25"/>
                  </a:cubicBezTo>
                  <a:cubicBezTo>
                    <a:pt x="29" y="23"/>
                    <a:pt x="31" y="21"/>
                    <a:pt x="33" y="20"/>
                  </a:cubicBezTo>
                  <a:cubicBezTo>
                    <a:pt x="33" y="19"/>
                    <a:pt x="34" y="19"/>
                    <a:pt x="35" y="19"/>
                  </a:cubicBezTo>
                  <a:cubicBezTo>
                    <a:pt x="34" y="14"/>
                    <a:pt x="33" y="9"/>
                    <a:pt x="33" y="4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1" y="0"/>
                    <a:pt x="30" y="0"/>
                  </a:cubicBezTo>
                  <a:cubicBezTo>
                    <a:pt x="24" y="1"/>
                    <a:pt x="19" y="3"/>
                    <a:pt x="14" y="6"/>
                  </a:cubicBezTo>
                  <a:cubicBezTo>
                    <a:pt x="10" y="9"/>
                    <a:pt x="6" y="13"/>
                    <a:pt x="4" y="17"/>
                  </a:cubicBezTo>
                  <a:cubicBezTo>
                    <a:pt x="1" y="21"/>
                    <a:pt x="0" y="26"/>
                    <a:pt x="0" y="31"/>
                  </a:cubicBezTo>
                  <a:cubicBezTo>
                    <a:pt x="0" y="36"/>
                    <a:pt x="1" y="40"/>
                    <a:pt x="2" y="43"/>
                  </a:cubicBezTo>
                  <a:cubicBezTo>
                    <a:pt x="4" y="47"/>
                    <a:pt x="6" y="50"/>
                    <a:pt x="9" y="52"/>
                  </a:cubicBezTo>
                  <a:cubicBezTo>
                    <a:pt x="12" y="55"/>
                    <a:pt x="15" y="56"/>
                    <a:pt x="19" y="58"/>
                  </a:cubicBezTo>
                  <a:cubicBezTo>
                    <a:pt x="23" y="60"/>
                    <a:pt x="27" y="61"/>
                    <a:pt x="32" y="62"/>
                  </a:cubicBezTo>
                  <a:cubicBezTo>
                    <a:pt x="36" y="63"/>
                    <a:pt x="41" y="65"/>
                    <a:pt x="46" y="66"/>
                  </a:cubicBezTo>
                  <a:cubicBezTo>
                    <a:pt x="51" y="67"/>
                    <a:pt x="57" y="68"/>
                    <a:pt x="62" y="70"/>
                  </a:cubicBezTo>
                  <a:cubicBezTo>
                    <a:pt x="66" y="71"/>
                    <a:pt x="70" y="73"/>
                    <a:pt x="73" y="75"/>
                  </a:cubicBezTo>
                  <a:cubicBezTo>
                    <a:pt x="75" y="78"/>
                    <a:pt x="76" y="81"/>
                    <a:pt x="76" y="83"/>
                  </a:cubicBezTo>
                  <a:cubicBezTo>
                    <a:pt x="76" y="87"/>
                    <a:pt x="76" y="89"/>
                    <a:pt x="74" y="91"/>
                  </a:cubicBezTo>
                  <a:cubicBezTo>
                    <a:pt x="73" y="94"/>
                    <a:pt x="71" y="96"/>
                    <a:pt x="68" y="97"/>
                  </a:cubicBezTo>
                  <a:cubicBezTo>
                    <a:pt x="66" y="98"/>
                    <a:pt x="63" y="99"/>
                    <a:pt x="60" y="100"/>
                  </a:cubicBezTo>
                  <a:cubicBezTo>
                    <a:pt x="57" y="101"/>
                    <a:pt x="54" y="101"/>
                    <a:pt x="51" y="101"/>
                  </a:cubicBezTo>
                  <a:cubicBezTo>
                    <a:pt x="46" y="101"/>
                    <a:pt x="41" y="101"/>
                    <a:pt x="37" y="100"/>
                  </a:cubicBezTo>
                  <a:cubicBezTo>
                    <a:pt x="32" y="99"/>
                    <a:pt x="28" y="97"/>
                    <a:pt x="25" y="96"/>
                  </a:cubicBezTo>
                  <a:cubicBezTo>
                    <a:pt x="21" y="95"/>
                    <a:pt x="18" y="93"/>
                    <a:pt x="15" y="92"/>
                  </a:cubicBezTo>
                  <a:cubicBezTo>
                    <a:pt x="13" y="91"/>
                    <a:pt x="10" y="91"/>
                    <a:pt x="9" y="91"/>
                  </a:cubicBezTo>
                  <a:cubicBezTo>
                    <a:pt x="6" y="91"/>
                    <a:pt x="4" y="92"/>
                    <a:pt x="2" y="93"/>
                  </a:cubicBezTo>
                  <a:cubicBezTo>
                    <a:pt x="1" y="94"/>
                    <a:pt x="0" y="96"/>
                    <a:pt x="0" y="99"/>
                  </a:cubicBezTo>
                  <a:cubicBezTo>
                    <a:pt x="0" y="101"/>
                    <a:pt x="1" y="104"/>
                    <a:pt x="4" y="107"/>
                  </a:cubicBezTo>
                  <a:cubicBezTo>
                    <a:pt x="6" y="109"/>
                    <a:pt x="10" y="111"/>
                    <a:pt x="14" y="113"/>
                  </a:cubicBezTo>
                  <a:cubicBezTo>
                    <a:pt x="19" y="115"/>
                    <a:pt x="24" y="117"/>
                    <a:pt x="30" y="118"/>
                  </a:cubicBezTo>
                  <a:cubicBezTo>
                    <a:pt x="33" y="118"/>
                    <a:pt x="37" y="119"/>
                    <a:pt x="41" y="119"/>
                  </a:cubicBezTo>
                  <a:cubicBezTo>
                    <a:pt x="41" y="127"/>
                    <a:pt x="41" y="127"/>
                    <a:pt x="41" y="127"/>
                  </a:cubicBezTo>
                  <a:cubicBezTo>
                    <a:pt x="41" y="131"/>
                    <a:pt x="44" y="135"/>
                    <a:pt x="48" y="13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03" name="Freeform 265"/>
            <p:cNvSpPr>
              <a:spLocks/>
            </p:cNvSpPr>
            <p:nvPr/>
          </p:nvSpPr>
          <p:spPr bwMode="auto">
            <a:xfrm>
              <a:off x="1763573" y="5275613"/>
              <a:ext cx="271042" cy="268504"/>
            </a:xfrm>
            <a:custGeom>
              <a:avLst/>
              <a:gdLst>
                <a:gd name="T0" fmla="*/ 0 w 226"/>
                <a:gd name="T1" fmla="*/ 111 h 224"/>
                <a:gd name="T2" fmla="*/ 113 w 226"/>
                <a:gd name="T3" fmla="*/ 224 h 224"/>
                <a:gd name="T4" fmla="*/ 226 w 226"/>
                <a:gd name="T5" fmla="*/ 112 h 224"/>
                <a:gd name="T6" fmla="*/ 216 w 226"/>
                <a:gd name="T7" fmla="*/ 106 h 224"/>
                <a:gd name="T8" fmla="*/ 209 w 226"/>
                <a:gd name="T9" fmla="*/ 106 h 224"/>
                <a:gd name="T10" fmla="*/ 209 w 226"/>
                <a:gd name="T11" fmla="*/ 111 h 224"/>
                <a:gd name="T12" fmla="*/ 113 w 226"/>
                <a:gd name="T13" fmla="*/ 207 h 224"/>
                <a:gd name="T14" fmla="*/ 17 w 226"/>
                <a:gd name="T15" fmla="*/ 111 h 224"/>
                <a:gd name="T16" fmla="*/ 95 w 226"/>
                <a:gd name="T17" fmla="*/ 17 h 224"/>
                <a:gd name="T18" fmla="*/ 95 w 226"/>
                <a:gd name="T19" fmla="*/ 0 h 224"/>
                <a:gd name="T20" fmla="*/ 0 w 226"/>
                <a:gd name="T21" fmla="*/ 11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6" h="224">
                  <a:moveTo>
                    <a:pt x="0" y="111"/>
                  </a:moveTo>
                  <a:cubicBezTo>
                    <a:pt x="0" y="173"/>
                    <a:pt x="51" y="224"/>
                    <a:pt x="113" y="224"/>
                  </a:cubicBezTo>
                  <a:cubicBezTo>
                    <a:pt x="175" y="224"/>
                    <a:pt x="225" y="174"/>
                    <a:pt x="226" y="112"/>
                  </a:cubicBezTo>
                  <a:cubicBezTo>
                    <a:pt x="216" y="106"/>
                    <a:pt x="216" y="106"/>
                    <a:pt x="216" y="106"/>
                  </a:cubicBezTo>
                  <a:cubicBezTo>
                    <a:pt x="209" y="106"/>
                    <a:pt x="209" y="106"/>
                    <a:pt x="209" y="106"/>
                  </a:cubicBezTo>
                  <a:cubicBezTo>
                    <a:pt x="209" y="108"/>
                    <a:pt x="209" y="109"/>
                    <a:pt x="209" y="111"/>
                  </a:cubicBezTo>
                  <a:cubicBezTo>
                    <a:pt x="209" y="164"/>
                    <a:pt x="166" y="207"/>
                    <a:pt x="113" y="207"/>
                  </a:cubicBezTo>
                  <a:cubicBezTo>
                    <a:pt x="60" y="207"/>
                    <a:pt x="17" y="164"/>
                    <a:pt x="17" y="111"/>
                  </a:cubicBezTo>
                  <a:cubicBezTo>
                    <a:pt x="17" y="64"/>
                    <a:pt x="50" y="25"/>
                    <a:pt x="95" y="17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41" y="9"/>
                    <a:pt x="0" y="55"/>
                    <a:pt x="0" y="11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04" name="Freeform 266"/>
            <p:cNvSpPr>
              <a:spLocks/>
            </p:cNvSpPr>
            <p:nvPr/>
          </p:nvSpPr>
          <p:spPr bwMode="auto">
            <a:xfrm>
              <a:off x="1901124" y="5170038"/>
              <a:ext cx="242619" cy="284239"/>
            </a:xfrm>
            <a:custGeom>
              <a:avLst/>
              <a:gdLst>
                <a:gd name="T0" fmla="*/ 130 w 202"/>
                <a:gd name="T1" fmla="*/ 37 h 237"/>
                <a:gd name="T2" fmla="*/ 68 w 202"/>
                <a:gd name="T3" fmla="*/ 20 h 237"/>
                <a:gd name="T4" fmla="*/ 37 w 202"/>
                <a:gd name="T5" fmla="*/ 0 h 237"/>
                <a:gd name="T6" fmla="*/ 33 w 202"/>
                <a:gd name="T7" fmla="*/ 0 h 237"/>
                <a:gd name="T8" fmla="*/ 0 w 202"/>
                <a:gd name="T9" fmla="*/ 33 h 237"/>
                <a:gd name="T10" fmla="*/ 0 w 202"/>
                <a:gd name="T11" fmla="*/ 142 h 237"/>
                <a:gd name="T12" fmla="*/ 44 w 202"/>
                <a:gd name="T13" fmla="*/ 174 h 237"/>
                <a:gd name="T14" fmla="*/ 107 w 202"/>
                <a:gd name="T15" fmla="*/ 174 h 237"/>
                <a:gd name="T16" fmla="*/ 162 w 202"/>
                <a:gd name="T17" fmla="*/ 228 h 237"/>
                <a:gd name="T18" fmla="*/ 194 w 202"/>
                <a:gd name="T19" fmla="*/ 228 h 237"/>
                <a:gd name="T20" fmla="*/ 193 w 202"/>
                <a:gd name="T21" fmla="*/ 197 h 237"/>
                <a:gd name="T22" fmla="*/ 132 w 202"/>
                <a:gd name="T23" fmla="*/ 137 h 237"/>
                <a:gd name="T24" fmla="*/ 123 w 202"/>
                <a:gd name="T25" fmla="*/ 132 h 237"/>
                <a:gd name="T26" fmla="*/ 115 w 202"/>
                <a:gd name="T27" fmla="*/ 130 h 237"/>
                <a:gd name="T28" fmla="*/ 71 w 202"/>
                <a:gd name="T29" fmla="*/ 130 h 237"/>
                <a:gd name="T30" fmla="*/ 71 w 202"/>
                <a:gd name="T31" fmla="*/ 67 h 237"/>
                <a:gd name="T32" fmla="*/ 119 w 202"/>
                <a:gd name="T33" fmla="*/ 80 h 237"/>
                <a:gd name="T34" fmla="*/ 146 w 202"/>
                <a:gd name="T35" fmla="*/ 64 h 237"/>
                <a:gd name="T36" fmla="*/ 130 w 202"/>
                <a:gd name="T37" fmla="*/ 37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2" h="237">
                  <a:moveTo>
                    <a:pt x="130" y="37"/>
                  </a:moveTo>
                  <a:cubicBezTo>
                    <a:pt x="68" y="20"/>
                    <a:pt x="68" y="20"/>
                    <a:pt x="68" y="20"/>
                  </a:cubicBezTo>
                  <a:cubicBezTo>
                    <a:pt x="63" y="8"/>
                    <a:pt x="51" y="0"/>
                    <a:pt x="37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0" y="155"/>
                    <a:pt x="17" y="174"/>
                    <a:pt x="44" y="174"/>
                  </a:cubicBezTo>
                  <a:cubicBezTo>
                    <a:pt x="71" y="174"/>
                    <a:pt x="107" y="174"/>
                    <a:pt x="107" y="174"/>
                  </a:cubicBezTo>
                  <a:cubicBezTo>
                    <a:pt x="162" y="228"/>
                    <a:pt x="162" y="228"/>
                    <a:pt x="162" y="228"/>
                  </a:cubicBezTo>
                  <a:cubicBezTo>
                    <a:pt x="171" y="237"/>
                    <a:pt x="185" y="237"/>
                    <a:pt x="194" y="228"/>
                  </a:cubicBezTo>
                  <a:cubicBezTo>
                    <a:pt x="202" y="219"/>
                    <a:pt x="202" y="205"/>
                    <a:pt x="193" y="197"/>
                  </a:cubicBezTo>
                  <a:cubicBezTo>
                    <a:pt x="132" y="137"/>
                    <a:pt x="132" y="137"/>
                    <a:pt x="132" y="137"/>
                  </a:cubicBezTo>
                  <a:cubicBezTo>
                    <a:pt x="129" y="134"/>
                    <a:pt x="126" y="133"/>
                    <a:pt x="123" y="132"/>
                  </a:cubicBezTo>
                  <a:cubicBezTo>
                    <a:pt x="121" y="131"/>
                    <a:pt x="118" y="130"/>
                    <a:pt x="115" y="130"/>
                  </a:cubicBezTo>
                  <a:cubicBezTo>
                    <a:pt x="71" y="130"/>
                    <a:pt x="71" y="130"/>
                    <a:pt x="71" y="130"/>
                  </a:cubicBezTo>
                  <a:cubicBezTo>
                    <a:pt x="71" y="67"/>
                    <a:pt x="71" y="67"/>
                    <a:pt x="71" y="67"/>
                  </a:cubicBezTo>
                  <a:cubicBezTo>
                    <a:pt x="119" y="80"/>
                    <a:pt x="119" y="80"/>
                    <a:pt x="119" y="80"/>
                  </a:cubicBezTo>
                  <a:cubicBezTo>
                    <a:pt x="131" y="83"/>
                    <a:pt x="143" y="76"/>
                    <a:pt x="146" y="64"/>
                  </a:cubicBezTo>
                  <a:cubicBezTo>
                    <a:pt x="149" y="52"/>
                    <a:pt x="142" y="40"/>
                    <a:pt x="130" y="3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05" name="Oval 267"/>
            <p:cNvSpPr>
              <a:spLocks noChangeArrowheads="1"/>
            </p:cNvSpPr>
            <p:nvPr/>
          </p:nvSpPr>
          <p:spPr bwMode="auto">
            <a:xfrm>
              <a:off x="1901124" y="5068017"/>
              <a:ext cx="84256" cy="83749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6306" name="Freeform 268"/>
          <p:cNvSpPr>
            <a:spLocks noEditPoints="1"/>
          </p:cNvSpPr>
          <p:nvPr/>
        </p:nvSpPr>
        <p:spPr bwMode="auto">
          <a:xfrm>
            <a:off x="2395875" y="4069628"/>
            <a:ext cx="366973" cy="399458"/>
          </a:xfrm>
          <a:custGeom>
            <a:avLst/>
            <a:gdLst>
              <a:gd name="T0" fmla="*/ 112 w 306"/>
              <a:gd name="T1" fmla="*/ 92 h 333"/>
              <a:gd name="T2" fmla="*/ 55 w 306"/>
              <a:gd name="T3" fmla="*/ 92 h 333"/>
              <a:gd name="T4" fmla="*/ 26 w 306"/>
              <a:gd name="T5" fmla="*/ 193 h 333"/>
              <a:gd name="T6" fmla="*/ 0 w 306"/>
              <a:gd name="T7" fmla="*/ 324 h 333"/>
              <a:gd name="T8" fmla="*/ 17 w 306"/>
              <a:gd name="T9" fmla="*/ 324 h 333"/>
              <a:gd name="T10" fmla="*/ 26 w 306"/>
              <a:gd name="T11" fmla="*/ 210 h 333"/>
              <a:gd name="T12" fmla="*/ 44 w 306"/>
              <a:gd name="T13" fmla="*/ 228 h 333"/>
              <a:gd name="T14" fmla="*/ 26 w 306"/>
              <a:gd name="T15" fmla="*/ 193 h 333"/>
              <a:gd name="T16" fmla="*/ 99 w 306"/>
              <a:gd name="T17" fmla="*/ 49 h 333"/>
              <a:gd name="T18" fmla="*/ 193 w 306"/>
              <a:gd name="T19" fmla="*/ 18 h 333"/>
              <a:gd name="T20" fmla="*/ 193 w 306"/>
              <a:gd name="T21" fmla="*/ 210 h 333"/>
              <a:gd name="T22" fmla="*/ 156 w 306"/>
              <a:gd name="T23" fmla="*/ 204 h 333"/>
              <a:gd name="T24" fmla="*/ 193 w 306"/>
              <a:gd name="T25" fmla="*/ 228 h 333"/>
              <a:gd name="T26" fmla="*/ 193 w 306"/>
              <a:gd name="T27" fmla="*/ 0 h 333"/>
              <a:gd name="T28" fmla="*/ 183 w 306"/>
              <a:gd name="T29" fmla="*/ 176 h 333"/>
              <a:gd name="T30" fmla="*/ 191 w 306"/>
              <a:gd name="T31" fmla="*/ 193 h 333"/>
              <a:gd name="T32" fmla="*/ 199 w 306"/>
              <a:gd name="T33" fmla="*/ 176 h 333"/>
              <a:gd name="T34" fmla="*/ 231 w 306"/>
              <a:gd name="T35" fmla="*/ 167 h 333"/>
              <a:gd name="T36" fmla="*/ 248 w 306"/>
              <a:gd name="T37" fmla="*/ 137 h 333"/>
              <a:gd name="T38" fmla="*/ 222 w 306"/>
              <a:gd name="T39" fmla="*/ 107 h 333"/>
              <a:gd name="T40" fmla="*/ 196 w 306"/>
              <a:gd name="T41" fmla="*/ 100 h 333"/>
              <a:gd name="T42" fmla="*/ 176 w 306"/>
              <a:gd name="T43" fmla="*/ 94 h 333"/>
              <a:gd name="T44" fmla="*/ 167 w 306"/>
              <a:gd name="T45" fmla="*/ 83 h 333"/>
              <a:gd name="T46" fmla="*/ 175 w 306"/>
              <a:gd name="T47" fmla="*/ 72 h 333"/>
              <a:gd name="T48" fmla="*/ 194 w 306"/>
              <a:gd name="T49" fmla="*/ 68 h 333"/>
              <a:gd name="T50" fmla="*/ 224 w 306"/>
              <a:gd name="T51" fmla="*/ 75 h 333"/>
              <a:gd name="T52" fmla="*/ 230 w 306"/>
              <a:gd name="T53" fmla="*/ 76 h 333"/>
              <a:gd name="T54" fmla="*/ 239 w 306"/>
              <a:gd name="T55" fmla="*/ 69 h 333"/>
              <a:gd name="T56" fmla="*/ 228 w 306"/>
              <a:gd name="T57" fmla="*/ 55 h 333"/>
              <a:gd name="T58" fmla="*/ 199 w 306"/>
              <a:gd name="T59" fmla="*/ 49 h 333"/>
              <a:gd name="T60" fmla="*/ 191 w 306"/>
              <a:gd name="T61" fmla="*/ 30 h 333"/>
              <a:gd name="T62" fmla="*/ 183 w 306"/>
              <a:gd name="T63" fmla="*/ 49 h 333"/>
              <a:gd name="T64" fmla="*/ 155 w 306"/>
              <a:gd name="T65" fmla="*/ 58 h 333"/>
              <a:gd name="T66" fmla="*/ 140 w 306"/>
              <a:gd name="T67" fmla="*/ 83 h 333"/>
              <a:gd name="T68" fmla="*/ 150 w 306"/>
              <a:gd name="T69" fmla="*/ 106 h 333"/>
              <a:gd name="T70" fmla="*/ 174 w 306"/>
              <a:gd name="T71" fmla="*/ 117 h 333"/>
              <a:gd name="T72" fmla="*/ 206 w 306"/>
              <a:gd name="T73" fmla="*/ 124 h 333"/>
              <a:gd name="T74" fmla="*/ 221 w 306"/>
              <a:gd name="T75" fmla="*/ 139 h 333"/>
              <a:gd name="T76" fmla="*/ 212 w 306"/>
              <a:gd name="T77" fmla="*/ 153 h 333"/>
              <a:gd name="T78" fmla="*/ 194 w 306"/>
              <a:gd name="T79" fmla="*/ 158 h 333"/>
              <a:gd name="T80" fmla="*/ 166 w 306"/>
              <a:gd name="T81" fmla="*/ 152 h 333"/>
              <a:gd name="T82" fmla="*/ 150 w 306"/>
              <a:gd name="T83" fmla="*/ 147 h 333"/>
              <a:gd name="T84" fmla="*/ 140 w 306"/>
              <a:gd name="T85" fmla="*/ 155 h 333"/>
              <a:gd name="T86" fmla="*/ 155 w 306"/>
              <a:gd name="T87" fmla="*/ 170 h 333"/>
              <a:gd name="T88" fmla="*/ 116 w 306"/>
              <a:gd name="T89" fmla="*/ 131 h 333"/>
              <a:gd name="T90" fmla="*/ 83 w 306"/>
              <a:gd name="T91" fmla="*/ 154 h 333"/>
              <a:gd name="T92" fmla="*/ 52 w 306"/>
              <a:gd name="T93" fmla="*/ 131 h 333"/>
              <a:gd name="T94" fmla="*/ 29 w 306"/>
              <a:gd name="T95" fmla="*/ 176 h 333"/>
              <a:gd name="T96" fmla="*/ 51 w 306"/>
              <a:gd name="T97" fmla="*/ 244 h 333"/>
              <a:gd name="T98" fmla="*/ 68 w 306"/>
              <a:gd name="T99" fmla="*/ 330 h 333"/>
              <a:gd name="T100" fmla="*/ 100 w 306"/>
              <a:gd name="T101" fmla="*/ 330 h 333"/>
              <a:gd name="T102" fmla="*/ 117 w 306"/>
              <a:gd name="T103" fmla="*/ 233 h 333"/>
              <a:gd name="T104" fmla="*/ 116 w 306"/>
              <a:gd name="T105" fmla="*/ 227 h 333"/>
              <a:gd name="T106" fmla="*/ 139 w 306"/>
              <a:gd name="T107" fmla="*/ 154 h 3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06" h="333">
                <a:moveTo>
                  <a:pt x="84" y="120"/>
                </a:moveTo>
                <a:cubicBezTo>
                  <a:pt x="99" y="120"/>
                  <a:pt x="112" y="107"/>
                  <a:pt x="112" y="92"/>
                </a:cubicBezTo>
                <a:cubicBezTo>
                  <a:pt x="112" y="76"/>
                  <a:pt x="99" y="64"/>
                  <a:pt x="84" y="64"/>
                </a:cubicBezTo>
                <a:cubicBezTo>
                  <a:pt x="68" y="64"/>
                  <a:pt x="55" y="76"/>
                  <a:pt x="55" y="92"/>
                </a:cubicBezTo>
                <a:cubicBezTo>
                  <a:pt x="55" y="107"/>
                  <a:pt x="68" y="120"/>
                  <a:pt x="84" y="120"/>
                </a:cubicBezTo>
                <a:close/>
                <a:moveTo>
                  <a:pt x="26" y="193"/>
                </a:moveTo>
                <a:cubicBezTo>
                  <a:pt x="11" y="193"/>
                  <a:pt x="0" y="205"/>
                  <a:pt x="0" y="219"/>
                </a:cubicBezTo>
                <a:cubicBezTo>
                  <a:pt x="0" y="324"/>
                  <a:pt x="0" y="324"/>
                  <a:pt x="0" y="324"/>
                </a:cubicBezTo>
                <a:cubicBezTo>
                  <a:pt x="0" y="329"/>
                  <a:pt x="4" y="333"/>
                  <a:pt x="8" y="333"/>
                </a:cubicBezTo>
                <a:cubicBezTo>
                  <a:pt x="13" y="333"/>
                  <a:pt x="17" y="329"/>
                  <a:pt x="17" y="324"/>
                </a:cubicBezTo>
                <a:cubicBezTo>
                  <a:pt x="17" y="219"/>
                  <a:pt x="17" y="219"/>
                  <a:pt x="17" y="219"/>
                </a:cubicBezTo>
                <a:cubicBezTo>
                  <a:pt x="17" y="214"/>
                  <a:pt x="21" y="210"/>
                  <a:pt x="26" y="210"/>
                </a:cubicBezTo>
                <a:cubicBezTo>
                  <a:pt x="31" y="210"/>
                  <a:pt x="35" y="214"/>
                  <a:pt x="35" y="219"/>
                </a:cubicBezTo>
                <a:cubicBezTo>
                  <a:pt x="35" y="224"/>
                  <a:pt x="39" y="228"/>
                  <a:pt x="44" y="228"/>
                </a:cubicBezTo>
                <a:cubicBezTo>
                  <a:pt x="48" y="228"/>
                  <a:pt x="52" y="224"/>
                  <a:pt x="52" y="219"/>
                </a:cubicBezTo>
                <a:cubicBezTo>
                  <a:pt x="52" y="205"/>
                  <a:pt x="40" y="193"/>
                  <a:pt x="26" y="193"/>
                </a:cubicBezTo>
                <a:close/>
                <a:moveTo>
                  <a:pt x="193" y="0"/>
                </a:moveTo>
                <a:cubicBezTo>
                  <a:pt x="154" y="0"/>
                  <a:pt x="120" y="19"/>
                  <a:pt x="99" y="49"/>
                </a:cubicBezTo>
                <a:cubicBezTo>
                  <a:pt x="105" y="51"/>
                  <a:pt x="110" y="54"/>
                  <a:pt x="114" y="58"/>
                </a:cubicBezTo>
                <a:cubicBezTo>
                  <a:pt x="132" y="34"/>
                  <a:pt x="160" y="18"/>
                  <a:pt x="193" y="18"/>
                </a:cubicBezTo>
                <a:cubicBezTo>
                  <a:pt x="246" y="18"/>
                  <a:pt x="289" y="61"/>
                  <a:pt x="289" y="114"/>
                </a:cubicBezTo>
                <a:cubicBezTo>
                  <a:pt x="289" y="167"/>
                  <a:pt x="246" y="210"/>
                  <a:pt x="193" y="210"/>
                </a:cubicBezTo>
                <a:cubicBezTo>
                  <a:pt x="180" y="210"/>
                  <a:pt x="168" y="208"/>
                  <a:pt x="156" y="203"/>
                </a:cubicBezTo>
                <a:cubicBezTo>
                  <a:pt x="156" y="204"/>
                  <a:pt x="156" y="204"/>
                  <a:pt x="156" y="204"/>
                </a:cubicBezTo>
                <a:cubicBezTo>
                  <a:pt x="156" y="210"/>
                  <a:pt x="155" y="215"/>
                  <a:pt x="152" y="221"/>
                </a:cubicBezTo>
                <a:cubicBezTo>
                  <a:pt x="165" y="225"/>
                  <a:pt x="178" y="228"/>
                  <a:pt x="193" y="228"/>
                </a:cubicBezTo>
                <a:cubicBezTo>
                  <a:pt x="255" y="228"/>
                  <a:pt x="306" y="177"/>
                  <a:pt x="306" y="114"/>
                </a:cubicBezTo>
                <a:cubicBezTo>
                  <a:pt x="306" y="51"/>
                  <a:pt x="255" y="0"/>
                  <a:pt x="193" y="0"/>
                </a:cubicBezTo>
                <a:close/>
                <a:moveTo>
                  <a:pt x="172" y="175"/>
                </a:moveTo>
                <a:cubicBezTo>
                  <a:pt x="176" y="176"/>
                  <a:pt x="179" y="176"/>
                  <a:pt x="183" y="176"/>
                </a:cubicBezTo>
                <a:cubicBezTo>
                  <a:pt x="183" y="185"/>
                  <a:pt x="183" y="185"/>
                  <a:pt x="183" y="185"/>
                </a:cubicBezTo>
                <a:cubicBezTo>
                  <a:pt x="183" y="189"/>
                  <a:pt x="187" y="193"/>
                  <a:pt x="191" y="193"/>
                </a:cubicBezTo>
                <a:cubicBezTo>
                  <a:pt x="195" y="193"/>
                  <a:pt x="199" y="189"/>
                  <a:pt x="199" y="185"/>
                </a:cubicBezTo>
                <a:cubicBezTo>
                  <a:pt x="199" y="176"/>
                  <a:pt x="199" y="176"/>
                  <a:pt x="199" y="176"/>
                </a:cubicBezTo>
                <a:cubicBezTo>
                  <a:pt x="204" y="176"/>
                  <a:pt x="209" y="175"/>
                  <a:pt x="214" y="174"/>
                </a:cubicBezTo>
                <a:cubicBezTo>
                  <a:pt x="220" y="173"/>
                  <a:pt x="226" y="170"/>
                  <a:pt x="231" y="167"/>
                </a:cubicBezTo>
                <a:cubicBezTo>
                  <a:pt x="237" y="163"/>
                  <a:pt x="240" y="159"/>
                  <a:pt x="243" y="154"/>
                </a:cubicBezTo>
                <a:cubicBezTo>
                  <a:pt x="246" y="149"/>
                  <a:pt x="248" y="143"/>
                  <a:pt x="248" y="137"/>
                </a:cubicBezTo>
                <a:cubicBezTo>
                  <a:pt x="248" y="129"/>
                  <a:pt x="246" y="123"/>
                  <a:pt x="241" y="118"/>
                </a:cubicBezTo>
                <a:cubicBezTo>
                  <a:pt x="236" y="113"/>
                  <a:pt x="230" y="109"/>
                  <a:pt x="222" y="107"/>
                </a:cubicBezTo>
                <a:cubicBezTo>
                  <a:pt x="218" y="106"/>
                  <a:pt x="214" y="104"/>
                  <a:pt x="209" y="103"/>
                </a:cubicBezTo>
                <a:cubicBezTo>
                  <a:pt x="205" y="102"/>
                  <a:pt x="200" y="101"/>
                  <a:pt x="196" y="100"/>
                </a:cubicBezTo>
                <a:cubicBezTo>
                  <a:pt x="192" y="99"/>
                  <a:pt x="188" y="98"/>
                  <a:pt x="185" y="97"/>
                </a:cubicBezTo>
                <a:cubicBezTo>
                  <a:pt x="181" y="96"/>
                  <a:pt x="178" y="95"/>
                  <a:pt x="176" y="94"/>
                </a:cubicBezTo>
                <a:cubicBezTo>
                  <a:pt x="173" y="92"/>
                  <a:pt x="171" y="91"/>
                  <a:pt x="170" y="89"/>
                </a:cubicBezTo>
                <a:cubicBezTo>
                  <a:pt x="168" y="87"/>
                  <a:pt x="167" y="85"/>
                  <a:pt x="167" y="83"/>
                </a:cubicBezTo>
                <a:cubicBezTo>
                  <a:pt x="167" y="81"/>
                  <a:pt x="168" y="79"/>
                  <a:pt x="169" y="77"/>
                </a:cubicBezTo>
                <a:cubicBezTo>
                  <a:pt x="171" y="75"/>
                  <a:pt x="172" y="73"/>
                  <a:pt x="175" y="72"/>
                </a:cubicBezTo>
                <a:cubicBezTo>
                  <a:pt x="177" y="71"/>
                  <a:pt x="180" y="70"/>
                  <a:pt x="183" y="69"/>
                </a:cubicBezTo>
                <a:cubicBezTo>
                  <a:pt x="186" y="69"/>
                  <a:pt x="190" y="68"/>
                  <a:pt x="194" y="68"/>
                </a:cubicBezTo>
                <a:cubicBezTo>
                  <a:pt x="201" y="68"/>
                  <a:pt x="207" y="69"/>
                  <a:pt x="212" y="70"/>
                </a:cubicBezTo>
                <a:cubicBezTo>
                  <a:pt x="217" y="71"/>
                  <a:pt x="221" y="73"/>
                  <a:pt x="224" y="75"/>
                </a:cubicBezTo>
                <a:cubicBezTo>
                  <a:pt x="225" y="75"/>
                  <a:pt x="226" y="76"/>
                  <a:pt x="227" y="76"/>
                </a:cubicBezTo>
                <a:cubicBezTo>
                  <a:pt x="228" y="76"/>
                  <a:pt x="229" y="76"/>
                  <a:pt x="230" y="76"/>
                </a:cubicBezTo>
                <a:cubicBezTo>
                  <a:pt x="232" y="76"/>
                  <a:pt x="235" y="75"/>
                  <a:pt x="237" y="74"/>
                </a:cubicBezTo>
                <a:cubicBezTo>
                  <a:pt x="238" y="73"/>
                  <a:pt x="239" y="71"/>
                  <a:pt x="239" y="69"/>
                </a:cubicBezTo>
                <a:cubicBezTo>
                  <a:pt x="239" y="66"/>
                  <a:pt x="238" y="64"/>
                  <a:pt x="236" y="62"/>
                </a:cubicBezTo>
                <a:cubicBezTo>
                  <a:pt x="235" y="59"/>
                  <a:pt x="232" y="57"/>
                  <a:pt x="228" y="55"/>
                </a:cubicBezTo>
                <a:cubicBezTo>
                  <a:pt x="224" y="53"/>
                  <a:pt x="219" y="52"/>
                  <a:pt x="213" y="51"/>
                </a:cubicBezTo>
                <a:cubicBezTo>
                  <a:pt x="209" y="50"/>
                  <a:pt x="204" y="49"/>
                  <a:pt x="199" y="49"/>
                </a:cubicBezTo>
                <a:cubicBezTo>
                  <a:pt x="199" y="37"/>
                  <a:pt x="199" y="37"/>
                  <a:pt x="199" y="37"/>
                </a:cubicBezTo>
                <a:cubicBezTo>
                  <a:pt x="199" y="33"/>
                  <a:pt x="195" y="30"/>
                  <a:pt x="191" y="30"/>
                </a:cubicBezTo>
                <a:cubicBezTo>
                  <a:pt x="187" y="30"/>
                  <a:pt x="183" y="33"/>
                  <a:pt x="183" y="37"/>
                </a:cubicBezTo>
                <a:cubicBezTo>
                  <a:pt x="183" y="49"/>
                  <a:pt x="183" y="49"/>
                  <a:pt x="183" y="49"/>
                </a:cubicBezTo>
                <a:cubicBezTo>
                  <a:pt x="179" y="50"/>
                  <a:pt x="175" y="50"/>
                  <a:pt x="172" y="51"/>
                </a:cubicBezTo>
                <a:cubicBezTo>
                  <a:pt x="165" y="52"/>
                  <a:pt x="160" y="55"/>
                  <a:pt x="155" y="58"/>
                </a:cubicBezTo>
                <a:cubicBezTo>
                  <a:pt x="151" y="61"/>
                  <a:pt x="147" y="64"/>
                  <a:pt x="144" y="69"/>
                </a:cubicBezTo>
                <a:cubicBezTo>
                  <a:pt x="141" y="73"/>
                  <a:pt x="140" y="78"/>
                  <a:pt x="140" y="83"/>
                </a:cubicBezTo>
                <a:cubicBezTo>
                  <a:pt x="140" y="88"/>
                  <a:pt x="141" y="93"/>
                  <a:pt x="143" y="97"/>
                </a:cubicBezTo>
                <a:cubicBezTo>
                  <a:pt x="144" y="100"/>
                  <a:pt x="147" y="103"/>
                  <a:pt x="150" y="106"/>
                </a:cubicBezTo>
                <a:cubicBezTo>
                  <a:pt x="153" y="108"/>
                  <a:pt x="156" y="110"/>
                  <a:pt x="160" y="112"/>
                </a:cubicBezTo>
                <a:cubicBezTo>
                  <a:pt x="164" y="114"/>
                  <a:pt x="169" y="115"/>
                  <a:pt x="174" y="117"/>
                </a:cubicBezTo>
                <a:cubicBezTo>
                  <a:pt x="179" y="118"/>
                  <a:pt x="184" y="119"/>
                  <a:pt x="189" y="120"/>
                </a:cubicBezTo>
                <a:cubicBezTo>
                  <a:pt x="194" y="121"/>
                  <a:pt x="200" y="123"/>
                  <a:pt x="206" y="124"/>
                </a:cubicBezTo>
                <a:cubicBezTo>
                  <a:pt x="210" y="126"/>
                  <a:pt x="214" y="128"/>
                  <a:pt x="217" y="130"/>
                </a:cubicBezTo>
                <a:cubicBezTo>
                  <a:pt x="219" y="133"/>
                  <a:pt x="221" y="136"/>
                  <a:pt x="221" y="139"/>
                </a:cubicBezTo>
                <a:cubicBezTo>
                  <a:pt x="221" y="142"/>
                  <a:pt x="220" y="145"/>
                  <a:pt x="218" y="147"/>
                </a:cubicBezTo>
                <a:cubicBezTo>
                  <a:pt x="217" y="150"/>
                  <a:pt x="215" y="152"/>
                  <a:pt x="212" y="153"/>
                </a:cubicBezTo>
                <a:cubicBezTo>
                  <a:pt x="210" y="155"/>
                  <a:pt x="207" y="156"/>
                  <a:pt x="204" y="157"/>
                </a:cubicBezTo>
                <a:cubicBezTo>
                  <a:pt x="201" y="157"/>
                  <a:pt x="198" y="158"/>
                  <a:pt x="194" y="158"/>
                </a:cubicBezTo>
                <a:cubicBezTo>
                  <a:pt x="189" y="158"/>
                  <a:pt x="184" y="157"/>
                  <a:pt x="179" y="156"/>
                </a:cubicBezTo>
                <a:cubicBezTo>
                  <a:pt x="174" y="155"/>
                  <a:pt x="170" y="154"/>
                  <a:pt x="166" y="152"/>
                </a:cubicBezTo>
                <a:cubicBezTo>
                  <a:pt x="163" y="151"/>
                  <a:pt x="159" y="149"/>
                  <a:pt x="156" y="148"/>
                </a:cubicBezTo>
                <a:cubicBezTo>
                  <a:pt x="154" y="147"/>
                  <a:pt x="151" y="147"/>
                  <a:pt x="150" y="147"/>
                </a:cubicBezTo>
                <a:cubicBezTo>
                  <a:pt x="147" y="147"/>
                  <a:pt x="145" y="147"/>
                  <a:pt x="143" y="149"/>
                </a:cubicBezTo>
                <a:cubicBezTo>
                  <a:pt x="141" y="151"/>
                  <a:pt x="140" y="153"/>
                  <a:pt x="140" y="155"/>
                </a:cubicBezTo>
                <a:cubicBezTo>
                  <a:pt x="140" y="158"/>
                  <a:pt x="141" y="161"/>
                  <a:pt x="144" y="163"/>
                </a:cubicBezTo>
                <a:cubicBezTo>
                  <a:pt x="147" y="166"/>
                  <a:pt x="151" y="168"/>
                  <a:pt x="155" y="170"/>
                </a:cubicBezTo>
                <a:cubicBezTo>
                  <a:pt x="160" y="172"/>
                  <a:pt x="166" y="174"/>
                  <a:pt x="172" y="175"/>
                </a:cubicBezTo>
                <a:close/>
                <a:moveTo>
                  <a:pt x="116" y="131"/>
                </a:moveTo>
                <a:cubicBezTo>
                  <a:pt x="106" y="131"/>
                  <a:pt x="106" y="131"/>
                  <a:pt x="106" y="131"/>
                </a:cubicBezTo>
                <a:cubicBezTo>
                  <a:pt x="83" y="154"/>
                  <a:pt x="83" y="154"/>
                  <a:pt x="83" y="154"/>
                </a:cubicBezTo>
                <a:cubicBezTo>
                  <a:pt x="60" y="131"/>
                  <a:pt x="60" y="131"/>
                  <a:pt x="60" y="131"/>
                </a:cubicBezTo>
                <a:cubicBezTo>
                  <a:pt x="52" y="131"/>
                  <a:pt x="52" y="131"/>
                  <a:pt x="52" y="131"/>
                </a:cubicBezTo>
                <a:cubicBezTo>
                  <a:pt x="39" y="131"/>
                  <a:pt x="29" y="141"/>
                  <a:pt x="29" y="154"/>
                </a:cubicBezTo>
                <a:cubicBezTo>
                  <a:pt x="29" y="176"/>
                  <a:pt x="29" y="176"/>
                  <a:pt x="29" y="176"/>
                </a:cubicBezTo>
                <a:cubicBezTo>
                  <a:pt x="52" y="177"/>
                  <a:pt x="70" y="196"/>
                  <a:pt x="70" y="219"/>
                </a:cubicBezTo>
                <a:cubicBezTo>
                  <a:pt x="70" y="231"/>
                  <a:pt x="62" y="241"/>
                  <a:pt x="51" y="244"/>
                </a:cubicBezTo>
                <a:cubicBezTo>
                  <a:pt x="51" y="313"/>
                  <a:pt x="51" y="313"/>
                  <a:pt x="51" y="313"/>
                </a:cubicBezTo>
                <a:cubicBezTo>
                  <a:pt x="51" y="322"/>
                  <a:pt x="58" y="330"/>
                  <a:pt x="68" y="330"/>
                </a:cubicBezTo>
                <a:cubicBezTo>
                  <a:pt x="77" y="330"/>
                  <a:pt x="84" y="322"/>
                  <a:pt x="84" y="313"/>
                </a:cubicBezTo>
                <a:cubicBezTo>
                  <a:pt x="84" y="322"/>
                  <a:pt x="91" y="330"/>
                  <a:pt x="100" y="330"/>
                </a:cubicBezTo>
                <a:cubicBezTo>
                  <a:pt x="109" y="330"/>
                  <a:pt x="117" y="322"/>
                  <a:pt x="117" y="313"/>
                </a:cubicBezTo>
                <a:cubicBezTo>
                  <a:pt x="117" y="233"/>
                  <a:pt x="117" y="233"/>
                  <a:pt x="117" y="233"/>
                </a:cubicBezTo>
                <a:cubicBezTo>
                  <a:pt x="117" y="231"/>
                  <a:pt x="116" y="228"/>
                  <a:pt x="115" y="227"/>
                </a:cubicBezTo>
                <a:cubicBezTo>
                  <a:pt x="116" y="227"/>
                  <a:pt x="116" y="227"/>
                  <a:pt x="116" y="227"/>
                </a:cubicBezTo>
                <a:cubicBezTo>
                  <a:pt x="129" y="227"/>
                  <a:pt x="139" y="216"/>
                  <a:pt x="139" y="204"/>
                </a:cubicBezTo>
                <a:cubicBezTo>
                  <a:pt x="139" y="154"/>
                  <a:pt x="139" y="154"/>
                  <a:pt x="139" y="154"/>
                </a:cubicBezTo>
                <a:cubicBezTo>
                  <a:pt x="139" y="141"/>
                  <a:pt x="129" y="131"/>
                  <a:pt x="116" y="13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xmlns="" id="{40071F64-328C-4D18-BEDE-EE2AAF8EF6CB}"/>
              </a:ext>
            </a:extLst>
          </p:cNvPr>
          <p:cNvGrpSpPr/>
          <p:nvPr/>
        </p:nvGrpSpPr>
        <p:grpSpPr>
          <a:xfrm>
            <a:off x="4280480" y="4667037"/>
            <a:ext cx="383722" cy="405549"/>
            <a:chOff x="4432880" y="4667037"/>
            <a:chExt cx="383722" cy="405549"/>
          </a:xfrm>
        </p:grpSpPr>
        <p:sp>
          <p:nvSpPr>
            <p:cNvPr id="36307" name="Freeform 269"/>
            <p:cNvSpPr>
              <a:spLocks/>
            </p:cNvSpPr>
            <p:nvPr/>
          </p:nvSpPr>
          <p:spPr bwMode="auto">
            <a:xfrm>
              <a:off x="4588704" y="4734545"/>
              <a:ext cx="227898" cy="338041"/>
            </a:xfrm>
            <a:custGeom>
              <a:avLst/>
              <a:gdLst>
                <a:gd name="T0" fmla="*/ 135 w 190"/>
                <a:gd name="T1" fmla="*/ 5 h 282"/>
                <a:gd name="T2" fmla="*/ 91 w 190"/>
                <a:gd name="T3" fmla="*/ 4 h 282"/>
                <a:gd name="T4" fmla="*/ 93 w 190"/>
                <a:gd name="T5" fmla="*/ 22 h 282"/>
                <a:gd name="T6" fmla="*/ 129 w 190"/>
                <a:gd name="T7" fmla="*/ 22 h 282"/>
                <a:gd name="T8" fmla="*/ 160 w 190"/>
                <a:gd name="T9" fmla="*/ 90 h 282"/>
                <a:gd name="T10" fmla="*/ 135 w 190"/>
                <a:gd name="T11" fmla="*/ 155 h 282"/>
                <a:gd name="T12" fmla="*/ 61 w 190"/>
                <a:gd name="T13" fmla="*/ 128 h 282"/>
                <a:gd name="T14" fmla="*/ 39 w 190"/>
                <a:gd name="T15" fmla="*/ 188 h 282"/>
                <a:gd name="T16" fmla="*/ 0 w 190"/>
                <a:gd name="T17" fmla="*/ 236 h 282"/>
                <a:gd name="T18" fmla="*/ 37 w 190"/>
                <a:gd name="T19" fmla="*/ 268 h 282"/>
                <a:gd name="T20" fmla="*/ 127 w 190"/>
                <a:gd name="T21" fmla="*/ 227 h 282"/>
                <a:gd name="T22" fmla="*/ 176 w 190"/>
                <a:gd name="T23" fmla="*/ 96 h 282"/>
                <a:gd name="T24" fmla="*/ 135 w 190"/>
                <a:gd name="T25" fmla="*/ 5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0" h="282">
                  <a:moveTo>
                    <a:pt x="135" y="5"/>
                  </a:moveTo>
                  <a:cubicBezTo>
                    <a:pt x="120" y="0"/>
                    <a:pt x="105" y="0"/>
                    <a:pt x="91" y="4"/>
                  </a:cubicBezTo>
                  <a:cubicBezTo>
                    <a:pt x="92" y="10"/>
                    <a:pt x="93" y="16"/>
                    <a:pt x="93" y="22"/>
                  </a:cubicBezTo>
                  <a:cubicBezTo>
                    <a:pt x="104" y="18"/>
                    <a:pt x="117" y="17"/>
                    <a:pt x="129" y="22"/>
                  </a:cubicBezTo>
                  <a:cubicBezTo>
                    <a:pt x="156" y="32"/>
                    <a:pt x="170" y="62"/>
                    <a:pt x="160" y="90"/>
                  </a:cubicBezTo>
                  <a:cubicBezTo>
                    <a:pt x="135" y="155"/>
                    <a:pt x="135" y="155"/>
                    <a:pt x="135" y="155"/>
                  </a:cubicBezTo>
                  <a:cubicBezTo>
                    <a:pt x="61" y="128"/>
                    <a:pt x="61" y="128"/>
                    <a:pt x="61" y="128"/>
                  </a:cubicBezTo>
                  <a:cubicBezTo>
                    <a:pt x="39" y="188"/>
                    <a:pt x="39" y="188"/>
                    <a:pt x="39" y="188"/>
                  </a:cubicBezTo>
                  <a:cubicBezTo>
                    <a:pt x="32" y="208"/>
                    <a:pt x="18" y="225"/>
                    <a:pt x="0" y="236"/>
                  </a:cubicBezTo>
                  <a:cubicBezTo>
                    <a:pt x="8" y="250"/>
                    <a:pt x="20" y="262"/>
                    <a:pt x="37" y="268"/>
                  </a:cubicBezTo>
                  <a:cubicBezTo>
                    <a:pt x="73" y="282"/>
                    <a:pt x="114" y="263"/>
                    <a:pt x="127" y="227"/>
                  </a:cubicBezTo>
                  <a:cubicBezTo>
                    <a:pt x="176" y="96"/>
                    <a:pt x="176" y="96"/>
                    <a:pt x="176" y="96"/>
                  </a:cubicBezTo>
                  <a:cubicBezTo>
                    <a:pt x="190" y="59"/>
                    <a:pt x="171" y="19"/>
                    <a:pt x="135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08" name="Freeform 270"/>
            <p:cNvSpPr>
              <a:spLocks noEditPoints="1"/>
            </p:cNvSpPr>
            <p:nvPr/>
          </p:nvSpPr>
          <p:spPr bwMode="auto">
            <a:xfrm>
              <a:off x="4432880" y="4667037"/>
              <a:ext cx="247186" cy="348192"/>
            </a:xfrm>
            <a:custGeom>
              <a:avLst/>
              <a:gdLst>
                <a:gd name="T0" fmla="*/ 61 w 206"/>
                <a:gd name="T1" fmla="*/ 55 h 290"/>
                <a:gd name="T2" fmla="*/ 55 w 206"/>
                <a:gd name="T3" fmla="*/ 276 h 290"/>
                <a:gd name="T4" fmla="*/ 193 w 206"/>
                <a:gd name="T5" fmla="*/ 103 h 290"/>
                <a:gd name="T6" fmla="*/ 128 w 206"/>
                <a:gd name="T7" fmla="*/ 229 h 290"/>
                <a:gd name="T8" fmla="*/ 29 w 206"/>
                <a:gd name="T9" fmla="*/ 193 h 290"/>
                <a:gd name="T10" fmla="*/ 152 w 206"/>
                <a:gd name="T11" fmla="*/ 163 h 290"/>
                <a:gd name="T12" fmla="*/ 162 w 206"/>
                <a:gd name="T13" fmla="*/ 67 h 290"/>
                <a:gd name="T14" fmla="*/ 155 w 206"/>
                <a:gd name="T15" fmla="*/ 69 h 290"/>
                <a:gd name="T16" fmla="*/ 152 w 206"/>
                <a:gd name="T17" fmla="*/ 67 h 290"/>
                <a:gd name="T18" fmla="*/ 135 w 206"/>
                <a:gd name="T19" fmla="*/ 57 h 290"/>
                <a:gd name="T20" fmla="*/ 123 w 206"/>
                <a:gd name="T21" fmla="*/ 54 h 290"/>
                <a:gd name="T22" fmla="*/ 116 w 206"/>
                <a:gd name="T23" fmla="*/ 59 h 290"/>
                <a:gd name="T24" fmla="*/ 118 w 206"/>
                <a:gd name="T25" fmla="*/ 68 h 290"/>
                <a:gd name="T26" fmla="*/ 129 w 206"/>
                <a:gd name="T27" fmla="*/ 76 h 290"/>
                <a:gd name="T28" fmla="*/ 144 w 206"/>
                <a:gd name="T29" fmla="*/ 86 h 290"/>
                <a:gd name="T30" fmla="*/ 152 w 206"/>
                <a:gd name="T31" fmla="*/ 110 h 290"/>
                <a:gd name="T32" fmla="*/ 136 w 206"/>
                <a:gd name="T33" fmla="*/ 124 h 290"/>
                <a:gd name="T34" fmla="*/ 114 w 206"/>
                <a:gd name="T35" fmla="*/ 123 h 290"/>
                <a:gd name="T36" fmla="*/ 106 w 206"/>
                <a:gd name="T37" fmla="*/ 131 h 290"/>
                <a:gd name="T38" fmla="*/ 105 w 206"/>
                <a:gd name="T39" fmla="*/ 119 h 290"/>
                <a:gd name="T40" fmla="*/ 89 w 206"/>
                <a:gd name="T41" fmla="*/ 110 h 290"/>
                <a:gd name="T42" fmla="*/ 84 w 206"/>
                <a:gd name="T43" fmla="*/ 97 h 290"/>
                <a:gd name="T44" fmla="*/ 91 w 206"/>
                <a:gd name="T45" fmla="*/ 94 h 290"/>
                <a:gd name="T46" fmla="*/ 100 w 206"/>
                <a:gd name="T47" fmla="*/ 101 h 290"/>
                <a:gd name="T48" fmla="*/ 116 w 206"/>
                <a:gd name="T49" fmla="*/ 110 h 290"/>
                <a:gd name="T50" fmla="*/ 127 w 206"/>
                <a:gd name="T51" fmla="*/ 112 h 290"/>
                <a:gd name="T52" fmla="*/ 136 w 206"/>
                <a:gd name="T53" fmla="*/ 105 h 290"/>
                <a:gd name="T54" fmla="*/ 130 w 206"/>
                <a:gd name="T55" fmla="*/ 93 h 290"/>
                <a:gd name="T56" fmla="*/ 112 w 206"/>
                <a:gd name="T57" fmla="*/ 81 h 290"/>
                <a:gd name="T58" fmla="*/ 100 w 206"/>
                <a:gd name="T59" fmla="*/ 70 h 290"/>
                <a:gd name="T60" fmla="*/ 99 w 206"/>
                <a:gd name="T61" fmla="*/ 54 h 290"/>
                <a:gd name="T62" fmla="*/ 114 w 206"/>
                <a:gd name="T63" fmla="*/ 42 h 290"/>
                <a:gd name="T64" fmla="*/ 133 w 206"/>
                <a:gd name="T65" fmla="*/ 43 h 290"/>
                <a:gd name="T66" fmla="*/ 142 w 206"/>
                <a:gd name="T67" fmla="*/ 33 h 290"/>
                <a:gd name="T68" fmla="*/ 142 w 206"/>
                <a:gd name="T69" fmla="*/ 46 h 290"/>
                <a:gd name="T70" fmla="*/ 158 w 206"/>
                <a:gd name="T71" fmla="*/ 56 h 290"/>
                <a:gd name="T72" fmla="*/ 162 w 206"/>
                <a:gd name="T73" fmla="*/ 67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06" h="290">
                  <a:moveTo>
                    <a:pt x="151" y="13"/>
                  </a:moveTo>
                  <a:cubicBezTo>
                    <a:pt x="114" y="0"/>
                    <a:pt x="74" y="18"/>
                    <a:pt x="61" y="55"/>
                  </a:cubicBezTo>
                  <a:cubicBezTo>
                    <a:pt x="13" y="187"/>
                    <a:pt x="13" y="187"/>
                    <a:pt x="13" y="187"/>
                  </a:cubicBezTo>
                  <a:cubicBezTo>
                    <a:pt x="0" y="223"/>
                    <a:pt x="19" y="263"/>
                    <a:pt x="55" y="276"/>
                  </a:cubicBezTo>
                  <a:cubicBezTo>
                    <a:pt x="91" y="290"/>
                    <a:pt x="132" y="271"/>
                    <a:pt x="145" y="235"/>
                  </a:cubicBezTo>
                  <a:cubicBezTo>
                    <a:pt x="193" y="103"/>
                    <a:pt x="193" y="103"/>
                    <a:pt x="193" y="103"/>
                  </a:cubicBezTo>
                  <a:cubicBezTo>
                    <a:pt x="206" y="66"/>
                    <a:pt x="187" y="26"/>
                    <a:pt x="151" y="13"/>
                  </a:cubicBezTo>
                  <a:close/>
                  <a:moveTo>
                    <a:pt x="128" y="229"/>
                  </a:moveTo>
                  <a:cubicBezTo>
                    <a:pt x="118" y="256"/>
                    <a:pt x="88" y="270"/>
                    <a:pt x="61" y="260"/>
                  </a:cubicBezTo>
                  <a:cubicBezTo>
                    <a:pt x="34" y="250"/>
                    <a:pt x="20" y="220"/>
                    <a:pt x="29" y="193"/>
                  </a:cubicBezTo>
                  <a:cubicBezTo>
                    <a:pt x="53" y="127"/>
                    <a:pt x="53" y="127"/>
                    <a:pt x="53" y="127"/>
                  </a:cubicBezTo>
                  <a:cubicBezTo>
                    <a:pt x="152" y="163"/>
                    <a:pt x="152" y="163"/>
                    <a:pt x="152" y="163"/>
                  </a:cubicBezTo>
                  <a:lnTo>
                    <a:pt x="128" y="229"/>
                  </a:lnTo>
                  <a:close/>
                  <a:moveTo>
                    <a:pt x="162" y="67"/>
                  </a:moveTo>
                  <a:cubicBezTo>
                    <a:pt x="162" y="68"/>
                    <a:pt x="161" y="69"/>
                    <a:pt x="159" y="69"/>
                  </a:cubicBezTo>
                  <a:cubicBezTo>
                    <a:pt x="158" y="70"/>
                    <a:pt x="156" y="70"/>
                    <a:pt x="155" y="69"/>
                  </a:cubicBezTo>
                  <a:cubicBezTo>
                    <a:pt x="154" y="69"/>
                    <a:pt x="154" y="69"/>
                    <a:pt x="153" y="68"/>
                  </a:cubicBezTo>
                  <a:cubicBezTo>
                    <a:pt x="153" y="68"/>
                    <a:pt x="152" y="68"/>
                    <a:pt x="152" y="67"/>
                  </a:cubicBezTo>
                  <a:cubicBezTo>
                    <a:pt x="150" y="65"/>
                    <a:pt x="148" y="63"/>
                    <a:pt x="145" y="62"/>
                  </a:cubicBezTo>
                  <a:cubicBezTo>
                    <a:pt x="143" y="60"/>
                    <a:pt x="139" y="58"/>
                    <a:pt x="135" y="57"/>
                  </a:cubicBezTo>
                  <a:cubicBezTo>
                    <a:pt x="133" y="56"/>
                    <a:pt x="130" y="55"/>
                    <a:pt x="128" y="55"/>
                  </a:cubicBezTo>
                  <a:cubicBezTo>
                    <a:pt x="126" y="54"/>
                    <a:pt x="124" y="54"/>
                    <a:pt x="123" y="54"/>
                  </a:cubicBezTo>
                  <a:cubicBezTo>
                    <a:pt x="121" y="55"/>
                    <a:pt x="120" y="55"/>
                    <a:pt x="118" y="56"/>
                  </a:cubicBezTo>
                  <a:cubicBezTo>
                    <a:pt x="117" y="57"/>
                    <a:pt x="116" y="58"/>
                    <a:pt x="116" y="59"/>
                  </a:cubicBezTo>
                  <a:cubicBezTo>
                    <a:pt x="115" y="61"/>
                    <a:pt x="115" y="62"/>
                    <a:pt x="116" y="64"/>
                  </a:cubicBezTo>
                  <a:cubicBezTo>
                    <a:pt x="116" y="65"/>
                    <a:pt x="117" y="67"/>
                    <a:pt x="118" y="68"/>
                  </a:cubicBezTo>
                  <a:cubicBezTo>
                    <a:pt x="120" y="69"/>
                    <a:pt x="121" y="71"/>
                    <a:pt x="123" y="72"/>
                  </a:cubicBezTo>
                  <a:cubicBezTo>
                    <a:pt x="125" y="73"/>
                    <a:pt x="127" y="75"/>
                    <a:pt x="129" y="76"/>
                  </a:cubicBezTo>
                  <a:cubicBezTo>
                    <a:pt x="132" y="77"/>
                    <a:pt x="134" y="79"/>
                    <a:pt x="137" y="81"/>
                  </a:cubicBezTo>
                  <a:cubicBezTo>
                    <a:pt x="139" y="82"/>
                    <a:pt x="141" y="84"/>
                    <a:pt x="144" y="86"/>
                  </a:cubicBezTo>
                  <a:cubicBezTo>
                    <a:pt x="148" y="89"/>
                    <a:pt x="151" y="93"/>
                    <a:pt x="152" y="97"/>
                  </a:cubicBezTo>
                  <a:cubicBezTo>
                    <a:pt x="154" y="101"/>
                    <a:pt x="154" y="105"/>
                    <a:pt x="152" y="110"/>
                  </a:cubicBezTo>
                  <a:cubicBezTo>
                    <a:pt x="151" y="113"/>
                    <a:pt x="149" y="116"/>
                    <a:pt x="146" y="119"/>
                  </a:cubicBezTo>
                  <a:cubicBezTo>
                    <a:pt x="143" y="121"/>
                    <a:pt x="140" y="123"/>
                    <a:pt x="136" y="124"/>
                  </a:cubicBezTo>
                  <a:cubicBezTo>
                    <a:pt x="132" y="125"/>
                    <a:pt x="128" y="125"/>
                    <a:pt x="124" y="125"/>
                  </a:cubicBezTo>
                  <a:cubicBezTo>
                    <a:pt x="121" y="124"/>
                    <a:pt x="117" y="124"/>
                    <a:pt x="114" y="123"/>
                  </a:cubicBezTo>
                  <a:cubicBezTo>
                    <a:pt x="112" y="128"/>
                    <a:pt x="112" y="128"/>
                    <a:pt x="112" y="128"/>
                  </a:cubicBezTo>
                  <a:cubicBezTo>
                    <a:pt x="111" y="131"/>
                    <a:pt x="109" y="132"/>
                    <a:pt x="106" y="131"/>
                  </a:cubicBezTo>
                  <a:cubicBezTo>
                    <a:pt x="103" y="130"/>
                    <a:pt x="102" y="127"/>
                    <a:pt x="103" y="125"/>
                  </a:cubicBezTo>
                  <a:cubicBezTo>
                    <a:pt x="105" y="119"/>
                    <a:pt x="105" y="119"/>
                    <a:pt x="105" y="119"/>
                  </a:cubicBezTo>
                  <a:cubicBezTo>
                    <a:pt x="103" y="118"/>
                    <a:pt x="100" y="117"/>
                    <a:pt x="98" y="116"/>
                  </a:cubicBezTo>
                  <a:cubicBezTo>
                    <a:pt x="95" y="114"/>
                    <a:pt x="92" y="112"/>
                    <a:pt x="89" y="110"/>
                  </a:cubicBezTo>
                  <a:cubicBezTo>
                    <a:pt x="87" y="107"/>
                    <a:pt x="85" y="105"/>
                    <a:pt x="84" y="103"/>
                  </a:cubicBezTo>
                  <a:cubicBezTo>
                    <a:pt x="83" y="101"/>
                    <a:pt x="83" y="99"/>
                    <a:pt x="84" y="97"/>
                  </a:cubicBezTo>
                  <a:cubicBezTo>
                    <a:pt x="84" y="95"/>
                    <a:pt x="85" y="94"/>
                    <a:pt x="87" y="94"/>
                  </a:cubicBezTo>
                  <a:cubicBezTo>
                    <a:pt x="88" y="93"/>
                    <a:pt x="89" y="93"/>
                    <a:pt x="91" y="94"/>
                  </a:cubicBezTo>
                  <a:cubicBezTo>
                    <a:pt x="92" y="94"/>
                    <a:pt x="93" y="95"/>
                    <a:pt x="95" y="96"/>
                  </a:cubicBezTo>
                  <a:cubicBezTo>
                    <a:pt x="96" y="98"/>
                    <a:pt x="98" y="99"/>
                    <a:pt x="100" y="101"/>
                  </a:cubicBezTo>
                  <a:cubicBezTo>
                    <a:pt x="102" y="103"/>
                    <a:pt x="104" y="104"/>
                    <a:pt x="107" y="106"/>
                  </a:cubicBezTo>
                  <a:cubicBezTo>
                    <a:pt x="109" y="108"/>
                    <a:pt x="112" y="109"/>
                    <a:pt x="116" y="110"/>
                  </a:cubicBezTo>
                  <a:cubicBezTo>
                    <a:pt x="118" y="111"/>
                    <a:pt x="120" y="112"/>
                    <a:pt x="122" y="112"/>
                  </a:cubicBezTo>
                  <a:cubicBezTo>
                    <a:pt x="124" y="112"/>
                    <a:pt x="126" y="112"/>
                    <a:pt x="127" y="112"/>
                  </a:cubicBezTo>
                  <a:cubicBezTo>
                    <a:pt x="129" y="111"/>
                    <a:pt x="131" y="111"/>
                    <a:pt x="132" y="109"/>
                  </a:cubicBezTo>
                  <a:cubicBezTo>
                    <a:pt x="134" y="108"/>
                    <a:pt x="135" y="107"/>
                    <a:pt x="136" y="105"/>
                  </a:cubicBezTo>
                  <a:cubicBezTo>
                    <a:pt x="136" y="103"/>
                    <a:pt x="136" y="101"/>
                    <a:pt x="135" y="99"/>
                  </a:cubicBezTo>
                  <a:cubicBezTo>
                    <a:pt x="134" y="97"/>
                    <a:pt x="132" y="95"/>
                    <a:pt x="130" y="93"/>
                  </a:cubicBezTo>
                  <a:cubicBezTo>
                    <a:pt x="127" y="91"/>
                    <a:pt x="124" y="89"/>
                    <a:pt x="121" y="87"/>
                  </a:cubicBezTo>
                  <a:cubicBezTo>
                    <a:pt x="118" y="85"/>
                    <a:pt x="115" y="83"/>
                    <a:pt x="112" y="81"/>
                  </a:cubicBezTo>
                  <a:cubicBezTo>
                    <a:pt x="110" y="79"/>
                    <a:pt x="107" y="78"/>
                    <a:pt x="105" y="76"/>
                  </a:cubicBezTo>
                  <a:cubicBezTo>
                    <a:pt x="103" y="74"/>
                    <a:pt x="101" y="72"/>
                    <a:pt x="100" y="70"/>
                  </a:cubicBezTo>
                  <a:cubicBezTo>
                    <a:pt x="99" y="67"/>
                    <a:pt x="98" y="65"/>
                    <a:pt x="98" y="62"/>
                  </a:cubicBezTo>
                  <a:cubicBezTo>
                    <a:pt x="98" y="60"/>
                    <a:pt x="98" y="57"/>
                    <a:pt x="99" y="54"/>
                  </a:cubicBezTo>
                  <a:cubicBezTo>
                    <a:pt x="100" y="51"/>
                    <a:pt x="102" y="48"/>
                    <a:pt x="105" y="46"/>
                  </a:cubicBezTo>
                  <a:cubicBezTo>
                    <a:pt x="107" y="44"/>
                    <a:pt x="111" y="42"/>
                    <a:pt x="114" y="42"/>
                  </a:cubicBezTo>
                  <a:cubicBezTo>
                    <a:pt x="117" y="41"/>
                    <a:pt x="121" y="41"/>
                    <a:pt x="125" y="41"/>
                  </a:cubicBezTo>
                  <a:cubicBezTo>
                    <a:pt x="128" y="42"/>
                    <a:pt x="130" y="42"/>
                    <a:pt x="133" y="43"/>
                  </a:cubicBezTo>
                  <a:cubicBezTo>
                    <a:pt x="135" y="36"/>
                    <a:pt x="135" y="36"/>
                    <a:pt x="135" y="36"/>
                  </a:cubicBezTo>
                  <a:cubicBezTo>
                    <a:pt x="136" y="33"/>
                    <a:pt x="139" y="32"/>
                    <a:pt x="142" y="33"/>
                  </a:cubicBezTo>
                  <a:cubicBezTo>
                    <a:pt x="144" y="34"/>
                    <a:pt x="146" y="37"/>
                    <a:pt x="145" y="39"/>
                  </a:cubicBezTo>
                  <a:cubicBezTo>
                    <a:pt x="142" y="46"/>
                    <a:pt x="142" y="46"/>
                    <a:pt x="142" y="46"/>
                  </a:cubicBezTo>
                  <a:cubicBezTo>
                    <a:pt x="145" y="47"/>
                    <a:pt x="148" y="49"/>
                    <a:pt x="150" y="50"/>
                  </a:cubicBezTo>
                  <a:cubicBezTo>
                    <a:pt x="154" y="52"/>
                    <a:pt x="156" y="54"/>
                    <a:pt x="158" y="56"/>
                  </a:cubicBezTo>
                  <a:cubicBezTo>
                    <a:pt x="160" y="58"/>
                    <a:pt x="161" y="60"/>
                    <a:pt x="162" y="62"/>
                  </a:cubicBezTo>
                  <a:cubicBezTo>
                    <a:pt x="163" y="64"/>
                    <a:pt x="163" y="65"/>
                    <a:pt x="162" y="6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xmlns="" id="{386B754E-1374-403B-888D-FD0864757633}"/>
              </a:ext>
            </a:extLst>
          </p:cNvPr>
          <p:cNvGrpSpPr/>
          <p:nvPr/>
        </p:nvGrpSpPr>
        <p:grpSpPr>
          <a:xfrm>
            <a:off x="1615741" y="3580331"/>
            <a:ext cx="487267" cy="435496"/>
            <a:chOff x="1768141" y="3580331"/>
            <a:chExt cx="487267" cy="435496"/>
          </a:xfrm>
        </p:grpSpPr>
        <p:sp>
          <p:nvSpPr>
            <p:cNvPr id="36309" name="Freeform 271"/>
            <p:cNvSpPr>
              <a:spLocks/>
            </p:cNvSpPr>
            <p:nvPr/>
          </p:nvSpPr>
          <p:spPr bwMode="auto">
            <a:xfrm>
              <a:off x="1889450" y="3880305"/>
              <a:ext cx="240080" cy="135522"/>
            </a:xfrm>
            <a:custGeom>
              <a:avLst/>
              <a:gdLst>
                <a:gd name="T0" fmla="*/ 200 w 200"/>
                <a:gd name="T1" fmla="*/ 11 h 113"/>
                <a:gd name="T2" fmla="*/ 196 w 200"/>
                <a:gd name="T3" fmla="*/ 3 h 113"/>
                <a:gd name="T4" fmla="*/ 187 w 200"/>
                <a:gd name="T5" fmla="*/ 1 h 113"/>
                <a:gd name="T6" fmla="*/ 101 w 200"/>
                <a:gd name="T7" fmla="*/ 17 h 113"/>
                <a:gd name="T8" fmla="*/ 13 w 200"/>
                <a:gd name="T9" fmla="*/ 0 h 113"/>
                <a:gd name="T10" fmla="*/ 4 w 200"/>
                <a:gd name="T11" fmla="*/ 2 h 113"/>
                <a:gd name="T12" fmla="*/ 0 w 200"/>
                <a:gd name="T13" fmla="*/ 11 h 113"/>
                <a:gd name="T14" fmla="*/ 0 w 200"/>
                <a:gd name="T15" fmla="*/ 45 h 113"/>
                <a:gd name="T16" fmla="*/ 100 w 200"/>
                <a:gd name="T17" fmla="*/ 109 h 113"/>
                <a:gd name="T18" fmla="*/ 200 w 200"/>
                <a:gd name="T19" fmla="*/ 45 h 113"/>
                <a:gd name="T20" fmla="*/ 200 w 200"/>
                <a:gd name="T21" fmla="*/ 11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0" h="113">
                  <a:moveTo>
                    <a:pt x="200" y="11"/>
                  </a:moveTo>
                  <a:cubicBezTo>
                    <a:pt x="200" y="8"/>
                    <a:pt x="199" y="5"/>
                    <a:pt x="196" y="3"/>
                  </a:cubicBezTo>
                  <a:cubicBezTo>
                    <a:pt x="193" y="1"/>
                    <a:pt x="190" y="0"/>
                    <a:pt x="187" y="1"/>
                  </a:cubicBezTo>
                  <a:cubicBezTo>
                    <a:pt x="163" y="8"/>
                    <a:pt x="124" y="17"/>
                    <a:pt x="101" y="17"/>
                  </a:cubicBezTo>
                  <a:cubicBezTo>
                    <a:pt x="77" y="17"/>
                    <a:pt x="37" y="7"/>
                    <a:pt x="13" y="0"/>
                  </a:cubicBezTo>
                  <a:cubicBezTo>
                    <a:pt x="10" y="0"/>
                    <a:pt x="7" y="0"/>
                    <a:pt x="4" y="2"/>
                  </a:cubicBezTo>
                  <a:cubicBezTo>
                    <a:pt x="1" y="4"/>
                    <a:pt x="0" y="7"/>
                    <a:pt x="0" y="11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113"/>
                    <a:pt x="55" y="109"/>
                    <a:pt x="100" y="109"/>
                  </a:cubicBezTo>
                  <a:cubicBezTo>
                    <a:pt x="145" y="109"/>
                    <a:pt x="200" y="113"/>
                    <a:pt x="200" y="45"/>
                  </a:cubicBezTo>
                  <a:lnTo>
                    <a:pt x="200" y="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10" name="Freeform 272"/>
            <p:cNvSpPr>
              <a:spLocks/>
            </p:cNvSpPr>
            <p:nvPr/>
          </p:nvSpPr>
          <p:spPr bwMode="auto">
            <a:xfrm>
              <a:off x="1768141" y="3750367"/>
              <a:ext cx="487267" cy="243633"/>
            </a:xfrm>
            <a:custGeom>
              <a:avLst/>
              <a:gdLst>
                <a:gd name="T0" fmla="*/ 45 w 406"/>
                <a:gd name="T1" fmla="*/ 111 h 203"/>
                <a:gd name="T2" fmla="*/ 36 w 406"/>
                <a:gd name="T3" fmla="*/ 97 h 203"/>
                <a:gd name="T4" fmla="*/ 36 w 406"/>
                <a:gd name="T5" fmla="*/ 60 h 203"/>
                <a:gd name="T6" fmla="*/ 168 w 406"/>
                <a:gd name="T7" fmla="*/ 90 h 203"/>
                <a:gd name="T8" fmla="*/ 236 w 406"/>
                <a:gd name="T9" fmla="*/ 90 h 203"/>
                <a:gd name="T10" fmla="*/ 387 w 406"/>
                <a:gd name="T11" fmla="*/ 56 h 203"/>
                <a:gd name="T12" fmla="*/ 387 w 406"/>
                <a:gd name="T13" fmla="*/ 40 h 203"/>
                <a:gd name="T14" fmla="*/ 237 w 406"/>
                <a:gd name="T15" fmla="*/ 4 h 203"/>
                <a:gd name="T16" fmla="*/ 169 w 406"/>
                <a:gd name="T17" fmla="*/ 4 h 203"/>
                <a:gd name="T18" fmla="*/ 19 w 406"/>
                <a:gd name="T19" fmla="*/ 40 h 203"/>
                <a:gd name="T20" fmla="*/ 19 w 406"/>
                <a:gd name="T21" fmla="*/ 56 h 203"/>
                <a:gd name="T22" fmla="*/ 19 w 406"/>
                <a:gd name="T23" fmla="*/ 97 h 203"/>
                <a:gd name="T24" fmla="*/ 10 w 406"/>
                <a:gd name="T25" fmla="*/ 111 h 203"/>
                <a:gd name="T26" fmla="*/ 10 w 406"/>
                <a:gd name="T27" fmla="*/ 185 h 203"/>
                <a:gd name="T28" fmla="*/ 27 w 406"/>
                <a:gd name="T29" fmla="*/ 203 h 203"/>
                <a:gd name="T30" fmla="*/ 45 w 406"/>
                <a:gd name="T31" fmla="*/ 185 h 203"/>
                <a:gd name="T32" fmla="*/ 45 w 406"/>
                <a:gd name="T33" fmla="*/ 111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6" h="203">
                  <a:moveTo>
                    <a:pt x="45" y="111"/>
                  </a:moveTo>
                  <a:cubicBezTo>
                    <a:pt x="45" y="105"/>
                    <a:pt x="41" y="100"/>
                    <a:pt x="36" y="97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168" y="90"/>
                    <a:pt x="168" y="90"/>
                    <a:pt x="168" y="90"/>
                  </a:cubicBezTo>
                  <a:cubicBezTo>
                    <a:pt x="186" y="95"/>
                    <a:pt x="217" y="95"/>
                    <a:pt x="236" y="90"/>
                  </a:cubicBezTo>
                  <a:cubicBezTo>
                    <a:pt x="387" y="56"/>
                    <a:pt x="387" y="56"/>
                    <a:pt x="387" y="56"/>
                  </a:cubicBezTo>
                  <a:cubicBezTo>
                    <a:pt x="406" y="51"/>
                    <a:pt x="406" y="44"/>
                    <a:pt x="387" y="40"/>
                  </a:cubicBezTo>
                  <a:cubicBezTo>
                    <a:pt x="237" y="4"/>
                    <a:pt x="237" y="4"/>
                    <a:pt x="237" y="4"/>
                  </a:cubicBezTo>
                  <a:cubicBezTo>
                    <a:pt x="219" y="0"/>
                    <a:pt x="188" y="0"/>
                    <a:pt x="169" y="4"/>
                  </a:cubicBezTo>
                  <a:cubicBezTo>
                    <a:pt x="19" y="40"/>
                    <a:pt x="19" y="40"/>
                    <a:pt x="19" y="40"/>
                  </a:cubicBezTo>
                  <a:cubicBezTo>
                    <a:pt x="0" y="44"/>
                    <a:pt x="0" y="51"/>
                    <a:pt x="19" y="56"/>
                  </a:cubicBezTo>
                  <a:cubicBezTo>
                    <a:pt x="19" y="97"/>
                    <a:pt x="19" y="97"/>
                    <a:pt x="19" y="97"/>
                  </a:cubicBezTo>
                  <a:cubicBezTo>
                    <a:pt x="13" y="100"/>
                    <a:pt x="10" y="105"/>
                    <a:pt x="10" y="111"/>
                  </a:cubicBezTo>
                  <a:cubicBezTo>
                    <a:pt x="10" y="185"/>
                    <a:pt x="10" y="185"/>
                    <a:pt x="10" y="185"/>
                  </a:cubicBezTo>
                  <a:cubicBezTo>
                    <a:pt x="10" y="195"/>
                    <a:pt x="18" y="203"/>
                    <a:pt x="27" y="203"/>
                  </a:cubicBezTo>
                  <a:cubicBezTo>
                    <a:pt x="37" y="203"/>
                    <a:pt x="45" y="195"/>
                    <a:pt x="45" y="185"/>
                  </a:cubicBezTo>
                  <a:lnTo>
                    <a:pt x="45" y="1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11" name="Freeform 273"/>
            <p:cNvSpPr>
              <a:spLocks/>
            </p:cNvSpPr>
            <p:nvPr/>
          </p:nvSpPr>
          <p:spPr bwMode="auto">
            <a:xfrm>
              <a:off x="2039183" y="3618399"/>
              <a:ext cx="128414" cy="141611"/>
            </a:xfrm>
            <a:custGeom>
              <a:avLst/>
              <a:gdLst>
                <a:gd name="T0" fmla="*/ 51 w 107"/>
                <a:gd name="T1" fmla="*/ 0 h 118"/>
                <a:gd name="T2" fmla="*/ 43 w 107"/>
                <a:gd name="T3" fmla="*/ 7 h 118"/>
                <a:gd name="T4" fmla="*/ 43 w 107"/>
                <a:gd name="T5" fmla="*/ 19 h 118"/>
                <a:gd name="T6" fmla="*/ 31 w 107"/>
                <a:gd name="T7" fmla="*/ 21 h 118"/>
                <a:gd name="T8" fmla="*/ 15 w 107"/>
                <a:gd name="T9" fmla="*/ 28 h 118"/>
                <a:gd name="T10" fmla="*/ 4 w 107"/>
                <a:gd name="T11" fmla="*/ 39 h 118"/>
                <a:gd name="T12" fmla="*/ 0 w 107"/>
                <a:gd name="T13" fmla="*/ 53 h 118"/>
                <a:gd name="T14" fmla="*/ 2 w 107"/>
                <a:gd name="T15" fmla="*/ 66 h 118"/>
                <a:gd name="T16" fmla="*/ 9 w 107"/>
                <a:gd name="T17" fmla="*/ 76 h 118"/>
                <a:gd name="T18" fmla="*/ 20 w 107"/>
                <a:gd name="T19" fmla="*/ 82 h 118"/>
                <a:gd name="T20" fmla="*/ 33 w 107"/>
                <a:gd name="T21" fmla="*/ 86 h 118"/>
                <a:gd name="T22" fmla="*/ 49 w 107"/>
                <a:gd name="T23" fmla="*/ 90 h 118"/>
                <a:gd name="T24" fmla="*/ 65 w 107"/>
                <a:gd name="T25" fmla="*/ 94 h 118"/>
                <a:gd name="T26" fmla="*/ 76 w 107"/>
                <a:gd name="T27" fmla="*/ 100 h 118"/>
                <a:gd name="T28" fmla="*/ 80 w 107"/>
                <a:gd name="T29" fmla="*/ 109 h 118"/>
                <a:gd name="T30" fmla="*/ 80 w 107"/>
                <a:gd name="T31" fmla="*/ 112 h 118"/>
                <a:gd name="T32" fmla="*/ 105 w 107"/>
                <a:gd name="T33" fmla="*/ 118 h 118"/>
                <a:gd name="T34" fmla="*/ 107 w 107"/>
                <a:gd name="T35" fmla="*/ 107 h 118"/>
                <a:gd name="T36" fmla="*/ 100 w 107"/>
                <a:gd name="T37" fmla="*/ 88 h 118"/>
                <a:gd name="T38" fmla="*/ 82 w 107"/>
                <a:gd name="T39" fmla="*/ 77 h 118"/>
                <a:gd name="T40" fmla="*/ 68 w 107"/>
                <a:gd name="T41" fmla="*/ 73 h 118"/>
                <a:gd name="T42" fmla="*/ 56 w 107"/>
                <a:gd name="T43" fmla="*/ 69 h 118"/>
                <a:gd name="T44" fmla="*/ 44 w 107"/>
                <a:gd name="T45" fmla="*/ 67 h 118"/>
                <a:gd name="T46" fmla="*/ 35 w 107"/>
                <a:gd name="T47" fmla="*/ 63 h 118"/>
                <a:gd name="T48" fmla="*/ 29 w 107"/>
                <a:gd name="T49" fmla="*/ 59 h 118"/>
                <a:gd name="T50" fmla="*/ 27 w 107"/>
                <a:gd name="T51" fmla="*/ 52 h 118"/>
                <a:gd name="T52" fmla="*/ 29 w 107"/>
                <a:gd name="T53" fmla="*/ 47 h 118"/>
                <a:gd name="T54" fmla="*/ 34 w 107"/>
                <a:gd name="T55" fmla="*/ 42 h 118"/>
                <a:gd name="T56" fmla="*/ 43 w 107"/>
                <a:gd name="T57" fmla="*/ 39 h 118"/>
                <a:gd name="T58" fmla="*/ 53 w 107"/>
                <a:gd name="T59" fmla="*/ 38 h 118"/>
                <a:gd name="T60" fmla="*/ 71 w 107"/>
                <a:gd name="T61" fmla="*/ 40 h 118"/>
                <a:gd name="T62" fmla="*/ 84 w 107"/>
                <a:gd name="T63" fmla="*/ 45 h 118"/>
                <a:gd name="T64" fmla="*/ 86 w 107"/>
                <a:gd name="T65" fmla="*/ 46 h 118"/>
                <a:gd name="T66" fmla="*/ 89 w 107"/>
                <a:gd name="T67" fmla="*/ 46 h 118"/>
                <a:gd name="T68" fmla="*/ 96 w 107"/>
                <a:gd name="T69" fmla="*/ 44 h 118"/>
                <a:gd name="T70" fmla="*/ 99 w 107"/>
                <a:gd name="T71" fmla="*/ 39 h 118"/>
                <a:gd name="T72" fmla="*/ 96 w 107"/>
                <a:gd name="T73" fmla="*/ 31 h 118"/>
                <a:gd name="T74" fmla="*/ 87 w 107"/>
                <a:gd name="T75" fmla="*/ 25 h 118"/>
                <a:gd name="T76" fmla="*/ 73 w 107"/>
                <a:gd name="T77" fmla="*/ 20 h 118"/>
                <a:gd name="T78" fmla="*/ 58 w 107"/>
                <a:gd name="T79" fmla="*/ 19 h 118"/>
                <a:gd name="T80" fmla="*/ 58 w 107"/>
                <a:gd name="T81" fmla="*/ 7 h 118"/>
                <a:gd name="T82" fmla="*/ 51 w 107"/>
                <a:gd name="T83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07" h="118">
                  <a:moveTo>
                    <a:pt x="51" y="0"/>
                  </a:moveTo>
                  <a:cubicBezTo>
                    <a:pt x="46" y="0"/>
                    <a:pt x="43" y="3"/>
                    <a:pt x="43" y="7"/>
                  </a:cubicBezTo>
                  <a:cubicBezTo>
                    <a:pt x="43" y="19"/>
                    <a:pt x="43" y="19"/>
                    <a:pt x="43" y="19"/>
                  </a:cubicBezTo>
                  <a:cubicBezTo>
                    <a:pt x="39" y="19"/>
                    <a:pt x="35" y="20"/>
                    <a:pt x="31" y="21"/>
                  </a:cubicBezTo>
                  <a:cubicBezTo>
                    <a:pt x="25" y="22"/>
                    <a:pt x="19" y="24"/>
                    <a:pt x="15" y="28"/>
                  </a:cubicBezTo>
                  <a:cubicBezTo>
                    <a:pt x="10" y="30"/>
                    <a:pt x="6" y="34"/>
                    <a:pt x="4" y="39"/>
                  </a:cubicBezTo>
                  <a:cubicBezTo>
                    <a:pt x="1" y="43"/>
                    <a:pt x="0" y="48"/>
                    <a:pt x="0" y="53"/>
                  </a:cubicBezTo>
                  <a:cubicBezTo>
                    <a:pt x="0" y="58"/>
                    <a:pt x="0" y="63"/>
                    <a:pt x="2" y="66"/>
                  </a:cubicBezTo>
                  <a:cubicBezTo>
                    <a:pt x="4" y="70"/>
                    <a:pt x="6" y="73"/>
                    <a:pt x="9" y="76"/>
                  </a:cubicBezTo>
                  <a:cubicBezTo>
                    <a:pt x="12" y="78"/>
                    <a:pt x="16" y="80"/>
                    <a:pt x="20" y="82"/>
                  </a:cubicBezTo>
                  <a:cubicBezTo>
                    <a:pt x="24" y="84"/>
                    <a:pt x="28" y="85"/>
                    <a:pt x="33" y="86"/>
                  </a:cubicBezTo>
                  <a:cubicBezTo>
                    <a:pt x="38" y="88"/>
                    <a:pt x="43" y="89"/>
                    <a:pt x="49" y="90"/>
                  </a:cubicBezTo>
                  <a:cubicBezTo>
                    <a:pt x="54" y="91"/>
                    <a:pt x="59" y="93"/>
                    <a:pt x="65" y="94"/>
                  </a:cubicBezTo>
                  <a:cubicBezTo>
                    <a:pt x="70" y="96"/>
                    <a:pt x="73" y="98"/>
                    <a:pt x="76" y="100"/>
                  </a:cubicBezTo>
                  <a:cubicBezTo>
                    <a:pt x="79" y="103"/>
                    <a:pt x="80" y="106"/>
                    <a:pt x="80" y="109"/>
                  </a:cubicBezTo>
                  <a:cubicBezTo>
                    <a:pt x="80" y="110"/>
                    <a:pt x="80" y="111"/>
                    <a:pt x="80" y="112"/>
                  </a:cubicBezTo>
                  <a:cubicBezTo>
                    <a:pt x="105" y="118"/>
                    <a:pt x="105" y="118"/>
                    <a:pt x="105" y="118"/>
                  </a:cubicBezTo>
                  <a:cubicBezTo>
                    <a:pt x="106" y="115"/>
                    <a:pt x="107" y="111"/>
                    <a:pt x="107" y="107"/>
                  </a:cubicBezTo>
                  <a:cubicBezTo>
                    <a:pt x="107" y="99"/>
                    <a:pt x="105" y="93"/>
                    <a:pt x="100" y="88"/>
                  </a:cubicBezTo>
                  <a:cubicBezTo>
                    <a:pt x="96" y="83"/>
                    <a:pt x="90" y="79"/>
                    <a:pt x="82" y="77"/>
                  </a:cubicBezTo>
                  <a:cubicBezTo>
                    <a:pt x="77" y="75"/>
                    <a:pt x="73" y="74"/>
                    <a:pt x="68" y="73"/>
                  </a:cubicBezTo>
                  <a:cubicBezTo>
                    <a:pt x="64" y="72"/>
                    <a:pt x="60" y="70"/>
                    <a:pt x="56" y="69"/>
                  </a:cubicBezTo>
                  <a:cubicBezTo>
                    <a:pt x="52" y="69"/>
                    <a:pt x="48" y="68"/>
                    <a:pt x="44" y="67"/>
                  </a:cubicBezTo>
                  <a:cubicBezTo>
                    <a:pt x="41" y="66"/>
                    <a:pt x="38" y="65"/>
                    <a:pt x="35" y="63"/>
                  </a:cubicBezTo>
                  <a:cubicBezTo>
                    <a:pt x="33" y="62"/>
                    <a:pt x="31" y="61"/>
                    <a:pt x="29" y="59"/>
                  </a:cubicBezTo>
                  <a:cubicBezTo>
                    <a:pt x="28" y="57"/>
                    <a:pt x="27" y="55"/>
                    <a:pt x="27" y="52"/>
                  </a:cubicBezTo>
                  <a:cubicBezTo>
                    <a:pt x="27" y="51"/>
                    <a:pt x="27" y="49"/>
                    <a:pt x="29" y="47"/>
                  </a:cubicBezTo>
                  <a:cubicBezTo>
                    <a:pt x="30" y="45"/>
                    <a:pt x="32" y="43"/>
                    <a:pt x="34" y="42"/>
                  </a:cubicBezTo>
                  <a:cubicBezTo>
                    <a:pt x="36" y="40"/>
                    <a:pt x="39" y="39"/>
                    <a:pt x="43" y="39"/>
                  </a:cubicBezTo>
                  <a:cubicBezTo>
                    <a:pt x="46" y="38"/>
                    <a:pt x="49" y="38"/>
                    <a:pt x="53" y="38"/>
                  </a:cubicBezTo>
                  <a:cubicBezTo>
                    <a:pt x="60" y="38"/>
                    <a:pt x="66" y="39"/>
                    <a:pt x="71" y="40"/>
                  </a:cubicBezTo>
                  <a:cubicBezTo>
                    <a:pt x="76" y="41"/>
                    <a:pt x="80" y="43"/>
                    <a:pt x="84" y="45"/>
                  </a:cubicBezTo>
                  <a:cubicBezTo>
                    <a:pt x="85" y="45"/>
                    <a:pt x="85" y="45"/>
                    <a:pt x="86" y="46"/>
                  </a:cubicBezTo>
                  <a:cubicBezTo>
                    <a:pt x="87" y="46"/>
                    <a:pt x="88" y="46"/>
                    <a:pt x="89" y="46"/>
                  </a:cubicBezTo>
                  <a:cubicBezTo>
                    <a:pt x="92" y="46"/>
                    <a:pt x="94" y="45"/>
                    <a:pt x="96" y="44"/>
                  </a:cubicBezTo>
                  <a:cubicBezTo>
                    <a:pt x="98" y="43"/>
                    <a:pt x="99" y="41"/>
                    <a:pt x="99" y="39"/>
                  </a:cubicBezTo>
                  <a:cubicBezTo>
                    <a:pt x="99" y="36"/>
                    <a:pt x="98" y="34"/>
                    <a:pt x="96" y="31"/>
                  </a:cubicBezTo>
                  <a:cubicBezTo>
                    <a:pt x="94" y="29"/>
                    <a:pt x="91" y="27"/>
                    <a:pt x="87" y="25"/>
                  </a:cubicBezTo>
                  <a:cubicBezTo>
                    <a:pt x="83" y="23"/>
                    <a:pt x="78" y="22"/>
                    <a:pt x="73" y="20"/>
                  </a:cubicBezTo>
                  <a:cubicBezTo>
                    <a:pt x="68" y="20"/>
                    <a:pt x="64" y="19"/>
                    <a:pt x="58" y="19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3"/>
                    <a:pt x="55" y="0"/>
                    <a:pt x="5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12" name="Freeform 274"/>
            <p:cNvSpPr>
              <a:spLocks/>
            </p:cNvSpPr>
            <p:nvPr/>
          </p:nvSpPr>
          <p:spPr bwMode="auto">
            <a:xfrm>
              <a:off x="1967109" y="3580331"/>
              <a:ext cx="271549" cy="193891"/>
            </a:xfrm>
            <a:custGeom>
              <a:avLst/>
              <a:gdLst>
                <a:gd name="T0" fmla="*/ 18 w 226"/>
                <a:gd name="T1" fmla="*/ 113 h 162"/>
                <a:gd name="T2" fmla="*/ 113 w 226"/>
                <a:gd name="T3" fmla="*/ 17 h 162"/>
                <a:gd name="T4" fmla="*/ 209 w 226"/>
                <a:gd name="T5" fmla="*/ 113 h 162"/>
                <a:gd name="T6" fmla="*/ 198 w 226"/>
                <a:gd name="T7" fmla="*/ 158 h 162"/>
                <a:gd name="T8" fmla="*/ 215 w 226"/>
                <a:gd name="T9" fmla="*/ 162 h 162"/>
                <a:gd name="T10" fmla="*/ 226 w 226"/>
                <a:gd name="T11" fmla="*/ 113 h 162"/>
                <a:gd name="T12" fmla="*/ 113 w 226"/>
                <a:gd name="T13" fmla="*/ 0 h 162"/>
                <a:gd name="T14" fmla="*/ 0 w 226"/>
                <a:gd name="T15" fmla="*/ 113 h 162"/>
                <a:gd name="T16" fmla="*/ 1 w 226"/>
                <a:gd name="T17" fmla="*/ 129 h 162"/>
                <a:gd name="T18" fmla="*/ 19 w 226"/>
                <a:gd name="T19" fmla="*/ 126 h 162"/>
                <a:gd name="T20" fmla="*/ 18 w 226"/>
                <a:gd name="T21" fmla="*/ 113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6" h="162">
                  <a:moveTo>
                    <a:pt x="18" y="113"/>
                  </a:moveTo>
                  <a:cubicBezTo>
                    <a:pt x="18" y="60"/>
                    <a:pt x="61" y="17"/>
                    <a:pt x="113" y="17"/>
                  </a:cubicBezTo>
                  <a:cubicBezTo>
                    <a:pt x="166" y="17"/>
                    <a:pt x="209" y="60"/>
                    <a:pt x="209" y="113"/>
                  </a:cubicBezTo>
                  <a:cubicBezTo>
                    <a:pt x="209" y="129"/>
                    <a:pt x="205" y="145"/>
                    <a:pt x="198" y="158"/>
                  </a:cubicBezTo>
                  <a:cubicBezTo>
                    <a:pt x="215" y="162"/>
                    <a:pt x="215" y="162"/>
                    <a:pt x="215" y="162"/>
                  </a:cubicBezTo>
                  <a:cubicBezTo>
                    <a:pt x="222" y="147"/>
                    <a:pt x="226" y="131"/>
                    <a:pt x="226" y="113"/>
                  </a:cubicBezTo>
                  <a:cubicBezTo>
                    <a:pt x="226" y="51"/>
                    <a:pt x="176" y="0"/>
                    <a:pt x="113" y="0"/>
                  </a:cubicBezTo>
                  <a:cubicBezTo>
                    <a:pt x="51" y="0"/>
                    <a:pt x="0" y="51"/>
                    <a:pt x="0" y="113"/>
                  </a:cubicBezTo>
                  <a:cubicBezTo>
                    <a:pt x="0" y="118"/>
                    <a:pt x="1" y="124"/>
                    <a:pt x="1" y="129"/>
                  </a:cubicBezTo>
                  <a:cubicBezTo>
                    <a:pt x="6" y="128"/>
                    <a:pt x="12" y="127"/>
                    <a:pt x="19" y="126"/>
                  </a:cubicBezTo>
                  <a:cubicBezTo>
                    <a:pt x="18" y="122"/>
                    <a:pt x="18" y="118"/>
                    <a:pt x="18" y="1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xmlns="" id="{EFC43ECD-0A4D-41C7-8735-29447AAA5325}"/>
              </a:ext>
            </a:extLst>
          </p:cNvPr>
          <p:cNvGrpSpPr/>
          <p:nvPr/>
        </p:nvGrpSpPr>
        <p:grpSpPr>
          <a:xfrm>
            <a:off x="917326" y="4864990"/>
            <a:ext cx="289314" cy="380677"/>
            <a:chOff x="1069726" y="4864990"/>
            <a:chExt cx="289314" cy="380677"/>
          </a:xfrm>
        </p:grpSpPr>
        <p:sp>
          <p:nvSpPr>
            <p:cNvPr id="36313" name="Oval 275"/>
            <p:cNvSpPr>
              <a:spLocks noChangeArrowheads="1"/>
            </p:cNvSpPr>
            <p:nvPr/>
          </p:nvSpPr>
          <p:spPr bwMode="auto">
            <a:xfrm>
              <a:off x="1174285" y="4864990"/>
              <a:ext cx="84256" cy="8425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14" name="Freeform 276"/>
            <p:cNvSpPr>
              <a:spLocks/>
            </p:cNvSpPr>
            <p:nvPr/>
          </p:nvSpPr>
          <p:spPr bwMode="auto">
            <a:xfrm>
              <a:off x="1069726" y="4945693"/>
              <a:ext cx="233989" cy="299974"/>
            </a:xfrm>
            <a:custGeom>
              <a:avLst/>
              <a:gdLst>
                <a:gd name="T0" fmla="*/ 194 w 195"/>
                <a:gd name="T1" fmla="*/ 68 h 250"/>
                <a:gd name="T2" fmla="*/ 186 w 195"/>
                <a:gd name="T3" fmla="*/ 57 h 250"/>
                <a:gd name="T4" fmla="*/ 125 w 195"/>
                <a:gd name="T5" fmla="*/ 20 h 250"/>
                <a:gd name="T6" fmla="*/ 105 w 195"/>
                <a:gd name="T7" fmla="*/ 12 h 250"/>
                <a:gd name="T8" fmla="*/ 76 w 195"/>
                <a:gd name="T9" fmla="*/ 22 h 250"/>
                <a:gd name="T10" fmla="*/ 70 w 195"/>
                <a:gd name="T11" fmla="*/ 24 h 250"/>
                <a:gd name="T12" fmla="*/ 55 w 195"/>
                <a:gd name="T13" fmla="*/ 16 h 250"/>
                <a:gd name="T14" fmla="*/ 33 w 195"/>
                <a:gd name="T15" fmla="*/ 5 h 250"/>
                <a:gd name="T16" fmla="*/ 5 w 195"/>
                <a:gd name="T17" fmla="*/ 14 h 250"/>
                <a:gd name="T18" fmla="*/ 14 w 195"/>
                <a:gd name="T19" fmla="*/ 42 h 250"/>
                <a:gd name="T20" fmla="*/ 59 w 195"/>
                <a:gd name="T21" fmla="*/ 65 h 250"/>
                <a:gd name="T22" fmla="*/ 68 w 195"/>
                <a:gd name="T23" fmla="*/ 67 h 250"/>
                <a:gd name="T24" fmla="*/ 49 w 195"/>
                <a:gd name="T25" fmla="*/ 145 h 250"/>
                <a:gd name="T26" fmla="*/ 33 w 195"/>
                <a:gd name="T27" fmla="*/ 210 h 250"/>
                <a:gd name="T28" fmla="*/ 29 w 195"/>
                <a:gd name="T29" fmla="*/ 225 h 250"/>
                <a:gd name="T30" fmla="*/ 44 w 195"/>
                <a:gd name="T31" fmla="*/ 250 h 250"/>
                <a:gd name="T32" fmla="*/ 50 w 195"/>
                <a:gd name="T33" fmla="*/ 250 h 250"/>
                <a:gd name="T34" fmla="*/ 70 w 195"/>
                <a:gd name="T35" fmla="*/ 235 h 250"/>
                <a:gd name="T36" fmla="*/ 85 w 195"/>
                <a:gd name="T37" fmla="*/ 172 h 250"/>
                <a:gd name="T38" fmla="*/ 116 w 195"/>
                <a:gd name="T39" fmla="*/ 236 h 250"/>
                <a:gd name="T40" fmla="*/ 144 w 195"/>
                <a:gd name="T41" fmla="*/ 245 h 250"/>
                <a:gd name="T42" fmla="*/ 153 w 195"/>
                <a:gd name="T43" fmla="*/ 218 h 250"/>
                <a:gd name="T44" fmla="*/ 112 w 195"/>
                <a:gd name="T45" fmla="*/ 132 h 250"/>
                <a:gd name="T46" fmla="*/ 126 w 195"/>
                <a:gd name="T47" fmla="*/ 62 h 250"/>
                <a:gd name="T48" fmla="*/ 153 w 195"/>
                <a:gd name="T49" fmla="*/ 78 h 250"/>
                <a:gd name="T50" fmla="*/ 140 w 195"/>
                <a:gd name="T51" fmla="*/ 97 h 250"/>
                <a:gd name="T52" fmla="*/ 146 w 195"/>
                <a:gd name="T53" fmla="*/ 121 h 250"/>
                <a:gd name="T54" fmla="*/ 155 w 195"/>
                <a:gd name="T55" fmla="*/ 124 h 250"/>
                <a:gd name="T56" fmla="*/ 170 w 195"/>
                <a:gd name="T57" fmla="*/ 116 h 250"/>
                <a:gd name="T58" fmla="*/ 192 w 195"/>
                <a:gd name="T59" fmla="*/ 82 h 250"/>
                <a:gd name="T60" fmla="*/ 194 w 195"/>
                <a:gd name="T61" fmla="*/ 68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95" h="250">
                  <a:moveTo>
                    <a:pt x="194" y="68"/>
                  </a:moveTo>
                  <a:cubicBezTo>
                    <a:pt x="193" y="64"/>
                    <a:pt x="190" y="60"/>
                    <a:pt x="186" y="57"/>
                  </a:cubicBezTo>
                  <a:cubicBezTo>
                    <a:pt x="125" y="20"/>
                    <a:pt x="125" y="20"/>
                    <a:pt x="125" y="20"/>
                  </a:cubicBezTo>
                  <a:cubicBezTo>
                    <a:pt x="119" y="16"/>
                    <a:pt x="113" y="13"/>
                    <a:pt x="105" y="12"/>
                  </a:cubicBezTo>
                  <a:cubicBezTo>
                    <a:pt x="92" y="11"/>
                    <a:pt x="85" y="16"/>
                    <a:pt x="76" y="22"/>
                  </a:cubicBezTo>
                  <a:cubicBezTo>
                    <a:pt x="73" y="25"/>
                    <a:pt x="70" y="24"/>
                    <a:pt x="70" y="24"/>
                  </a:cubicBezTo>
                  <a:cubicBezTo>
                    <a:pt x="70" y="24"/>
                    <a:pt x="60" y="19"/>
                    <a:pt x="55" y="16"/>
                  </a:cubicBezTo>
                  <a:cubicBezTo>
                    <a:pt x="48" y="13"/>
                    <a:pt x="40" y="9"/>
                    <a:pt x="33" y="5"/>
                  </a:cubicBezTo>
                  <a:cubicBezTo>
                    <a:pt x="23" y="0"/>
                    <a:pt x="10" y="4"/>
                    <a:pt x="5" y="14"/>
                  </a:cubicBezTo>
                  <a:cubicBezTo>
                    <a:pt x="0" y="24"/>
                    <a:pt x="4" y="37"/>
                    <a:pt x="14" y="42"/>
                  </a:cubicBezTo>
                  <a:cubicBezTo>
                    <a:pt x="59" y="65"/>
                    <a:pt x="59" y="65"/>
                    <a:pt x="59" y="65"/>
                  </a:cubicBezTo>
                  <a:cubicBezTo>
                    <a:pt x="62" y="66"/>
                    <a:pt x="65" y="67"/>
                    <a:pt x="68" y="67"/>
                  </a:cubicBezTo>
                  <a:cubicBezTo>
                    <a:pt x="62" y="92"/>
                    <a:pt x="56" y="121"/>
                    <a:pt x="49" y="145"/>
                  </a:cubicBezTo>
                  <a:cubicBezTo>
                    <a:pt x="44" y="167"/>
                    <a:pt x="39" y="188"/>
                    <a:pt x="33" y="210"/>
                  </a:cubicBezTo>
                  <a:cubicBezTo>
                    <a:pt x="32" y="215"/>
                    <a:pt x="31" y="220"/>
                    <a:pt x="29" y="225"/>
                  </a:cubicBezTo>
                  <a:cubicBezTo>
                    <a:pt x="27" y="236"/>
                    <a:pt x="33" y="247"/>
                    <a:pt x="44" y="250"/>
                  </a:cubicBezTo>
                  <a:cubicBezTo>
                    <a:pt x="46" y="250"/>
                    <a:pt x="48" y="250"/>
                    <a:pt x="50" y="250"/>
                  </a:cubicBezTo>
                  <a:cubicBezTo>
                    <a:pt x="59" y="250"/>
                    <a:pt x="67" y="244"/>
                    <a:pt x="70" y="235"/>
                  </a:cubicBezTo>
                  <a:cubicBezTo>
                    <a:pt x="85" y="172"/>
                    <a:pt x="85" y="172"/>
                    <a:pt x="85" y="172"/>
                  </a:cubicBezTo>
                  <a:cubicBezTo>
                    <a:pt x="116" y="236"/>
                    <a:pt x="116" y="236"/>
                    <a:pt x="116" y="236"/>
                  </a:cubicBezTo>
                  <a:cubicBezTo>
                    <a:pt x="121" y="246"/>
                    <a:pt x="133" y="250"/>
                    <a:pt x="144" y="245"/>
                  </a:cubicBezTo>
                  <a:cubicBezTo>
                    <a:pt x="154" y="240"/>
                    <a:pt x="158" y="228"/>
                    <a:pt x="153" y="218"/>
                  </a:cubicBezTo>
                  <a:cubicBezTo>
                    <a:pt x="112" y="132"/>
                    <a:pt x="112" y="132"/>
                    <a:pt x="112" y="132"/>
                  </a:cubicBezTo>
                  <a:cubicBezTo>
                    <a:pt x="126" y="62"/>
                    <a:pt x="126" y="62"/>
                    <a:pt x="126" y="62"/>
                  </a:cubicBezTo>
                  <a:cubicBezTo>
                    <a:pt x="153" y="78"/>
                    <a:pt x="153" y="78"/>
                    <a:pt x="153" y="78"/>
                  </a:cubicBezTo>
                  <a:cubicBezTo>
                    <a:pt x="140" y="97"/>
                    <a:pt x="140" y="97"/>
                    <a:pt x="140" y="97"/>
                  </a:cubicBezTo>
                  <a:cubicBezTo>
                    <a:pt x="135" y="105"/>
                    <a:pt x="138" y="116"/>
                    <a:pt x="146" y="121"/>
                  </a:cubicBezTo>
                  <a:cubicBezTo>
                    <a:pt x="149" y="123"/>
                    <a:pt x="152" y="124"/>
                    <a:pt x="155" y="124"/>
                  </a:cubicBezTo>
                  <a:cubicBezTo>
                    <a:pt x="161" y="124"/>
                    <a:pt x="167" y="121"/>
                    <a:pt x="170" y="116"/>
                  </a:cubicBezTo>
                  <a:cubicBezTo>
                    <a:pt x="192" y="82"/>
                    <a:pt x="192" y="82"/>
                    <a:pt x="192" y="82"/>
                  </a:cubicBezTo>
                  <a:cubicBezTo>
                    <a:pt x="194" y="78"/>
                    <a:pt x="195" y="73"/>
                    <a:pt x="194" y="6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15" name="Freeform 277"/>
            <p:cNvSpPr>
              <a:spLocks/>
            </p:cNvSpPr>
            <p:nvPr/>
          </p:nvSpPr>
          <p:spPr bwMode="auto">
            <a:xfrm>
              <a:off x="1234178" y="5104054"/>
              <a:ext cx="124862" cy="85272"/>
            </a:xfrm>
            <a:custGeom>
              <a:avLst/>
              <a:gdLst>
                <a:gd name="T0" fmla="*/ 104 w 104"/>
                <a:gd name="T1" fmla="*/ 47 h 71"/>
                <a:gd name="T2" fmla="*/ 97 w 104"/>
                <a:gd name="T3" fmla="*/ 33 h 71"/>
                <a:gd name="T4" fmla="*/ 57 w 104"/>
                <a:gd name="T5" fmla="*/ 3 h 71"/>
                <a:gd name="T6" fmla="*/ 50 w 104"/>
                <a:gd name="T7" fmla="*/ 6 h 71"/>
                <a:gd name="T8" fmla="*/ 48 w 104"/>
                <a:gd name="T9" fmla="*/ 23 h 71"/>
                <a:gd name="T10" fmla="*/ 40 w 104"/>
                <a:gd name="T11" fmla="*/ 27 h 71"/>
                <a:gd name="T12" fmla="*/ 5 w 104"/>
                <a:gd name="T13" fmla="*/ 5 h 71"/>
                <a:gd name="T14" fmla="*/ 3 w 104"/>
                <a:gd name="T15" fmla="*/ 7 h 71"/>
                <a:gd name="T16" fmla="*/ 55 w 104"/>
                <a:gd name="T17" fmla="*/ 68 h 71"/>
                <a:gd name="T18" fmla="*/ 61 w 104"/>
                <a:gd name="T19" fmla="*/ 66 h 71"/>
                <a:gd name="T20" fmla="*/ 63 w 104"/>
                <a:gd name="T21" fmla="*/ 46 h 71"/>
                <a:gd name="T22" fmla="*/ 70 w 104"/>
                <a:gd name="T23" fmla="*/ 43 h 71"/>
                <a:gd name="T24" fmla="*/ 95 w 104"/>
                <a:gd name="T25" fmla="*/ 64 h 71"/>
                <a:gd name="T26" fmla="*/ 102 w 104"/>
                <a:gd name="T27" fmla="*/ 61 h 71"/>
                <a:gd name="T28" fmla="*/ 104 w 104"/>
                <a:gd name="T29" fmla="*/ 47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71">
                  <a:moveTo>
                    <a:pt x="104" y="47"/>
                  </a:moveTo>
                  <a:cubicBezTo>
                    <a:pt x="104" y="42"/>
                    <a:pt x="101" y="35"/>
                    <a:pt x="97" y="33"/>
                  </a:cubicBezTo>
                  <a:cubicBezTo>
                    <a:pt x="57" y="3"/>
                    <a:pt x="57" y="3"/>
                    <a:pt x="57" y="3"/>
                  </a:cubicBezTo>
                  <a:cubicBezTo>
                    <a:pt x="53" y="0"/>
                    <a:pt x="50" y="1"/>
                    <a:pt x="50" y="6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8" y="27"/>
                    <a:pt x="44" y="29"/>
                    <a:pt x="40" y="27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1" y="2"/>
                    <a:pt x="0" y="3"/>
                    <a:pt x="3" y="7"/>
                  </a:cubicBezTo>
                  <a:cubicBezTo>
                    <a:pt x="55" y="68"/>
                    <a:pt x="55" y="68"/>
                    <a:pt x="55" y="68"/>
                  </a:cubicBezTo>
                  <a:cubicBezTo>
                    <a:pt x="58" y="71"/>
                    <a:pt x="61" y="70"/>
                    <a:pt x="61" y="66"/>
                  </a:cubicBezTo>
                  <a:cubicBezTo>
                    <a:pt x="63" y="46"/>
                    <a:pt x="63" y="46"/>
                    <a:pt x="63" y="46"/>
                  </a:cubicBezTo>
                  <a:cubicBezTo>
                    <a:pt x="63" y="41"/>
                    <a:pt x="66" y="40"/>
                    <a:pt x="70" y="43"/>
                  </a:cubicBezTo>
                  <a:cubicBezTo>
                    <a:pt x="95" y="64"/>
                    <a:pt x="95" y="64"/>
                    <a:pt x="95" y="64"/>
                  </a:cubicBezTo>
                  <a:cubicBezTo>
                    <a:pt x="98" y="67"/>
                    <a:pt x="102" y="66"/>
                    <a:pt x="102" y="61"/>
                  </a:cubicBezTo>
                  <a:lnTo>
                    <a:pt x="104" y="4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xmlns="" id="{2E540E3C-DF9F-46B7-88C0-CEF23E7C87F7}"/>
              </a:ext>
            </a:extLst>
          </p:cNvPr>
          <p:cNvGrpSpPr/>
          <p:nvPr/>
        </p:nvGrpSpPr>
        <p:grpSpPr>
          <a:xfrm>
            <a:off x="3459740" y="3742245"/>
            <a:ext cx="457320" cy="367988"/>
            <a:chOff x="3612140" y="3742245"/>
            <a:chExt cx="457320" cy="367988"/>
          </a:xfrm>
        </p:grpSpPr>
        <p:sp>
          <p:nvSpPr>
            <p:cNvPr id="36316" name="Freeform 278"/>
            <p:cNvSpPr>
              <a:spLocks/>
            </p:cNvSpPr>
            <p:nvPr/>
          </p:nvSpPr>
          <p:spPr bwMode="auto">
            <a:xfrm>
              <a:off x="3807555" y="3742245"/>
              <a:ext cx="110650" cy="94408"/>
            </a:xfrm>
            <a:custGeom>
              <a:avLst/>
              <a:gdLst>
                <a:gd name="T0" fmla="*/ 47 w 92"/>
                <a:gd name="T1" fmla="*/ 1 h 79"/>
                <a:gd name="T2" fmla="*/ 0 w 92"/>
                <a:gd name="T3" fmla="*/ 45 h 79"/>
                <a:gd name="T4" fmla="*/ 7 w 92"/>
                <a:gd name="T5" fmla="*/ 71 h 79"/>
                <a:gd name="T6" fmla="*/ 76 w 92"/>
                <a:gd name="T7" fmla="*/ 79 h 79"/>
                <a:gd name="T8" fmla="*/ 91 w 92"/>
                <a:gd name="T9" fmla="*/ 47 h 79"/>
                <a:gd name="T10" fmla="*/ 47 w 92"/>
                <a:gd name="T11" fmla="*/ 1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" h="79">
                  <a:moveTo>
                    <a:pt x="47" y="1"/>
                  </a:moveTo>
                  <a:cubicBezTo>
                    <a:pt x="21" y="0"/>
                    <a:pt x="1" y="20"/>
                    <a:pt x="0" y="45"/>
                  </a:cubicBezTo>
                  <a:cubicBezTo>
                    <a:pt x="0" y="55"/>
                    <a:pt x="2" y="63"/>
                    <a:pt x="7" y="71"/>
                  </a:cubicBezTo>
                  <a:cubicBezTo>
                    <a:pt x="19" y="70"/>
                    <a:pt x="43" y="70"/>
                    <a:pt x="76" y="79"/>
                  </a:cubicBezTo>
                  <a:cubicBezTo>
                    <a:pt x="85" y="71"/>
                    <a:pt x="91" y="60"/>
                    <a:pt x="91" y="47"/>
                  </a:cubicBezTo>
                  <a:cubicBezTo>
                    <a:pt x="92" y="22"/>
                    <a:pt x="72" y="1"/>
                    <a:pt x="4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17" name="Freeform 279"/>
            <p:cNvSpPr>
              <a:spLocks noEditPoints="1"/>
            </p:cNvSpPr>
            <p:nvPr/>
          </p:nvSpPr>
          <p:spPr bwMode="auto">
            <a:xfrm>
              <a:off x="3612140" y="3791480"/>
              <a:ext cx="457320" cy="318753"/>
            </a:xfrm>
            <a:custGeom>
              <a:avLst/>
              <a:gdLst>
                <a:gd name="T0" fmla="*/ 377 w 381"/>
                <a:gd name="T1" fmla="*/ 107 h 266"/>
                <a:gd name="T2" fmla="*/ 370 w 381"/>
                <a:gd name="T3" fmla="*/ 96 h 266"/>
                <a:gd name="T4" fmla="*/ 331 w 381"/>
                <a:gd name="T5" fmla="*/ 108 h 266"/>
                <a:gd name="T6" fmla="*/ 262 w 381"/>
                <a:gd name="T7" fmla="*/ 53 h 266"/>
                <a:gd name="T8" fmla="*/ 246 w 381"/>
                <a:gd name="T9" fmla="*/ 54 h 266"/>
                <a:gd name="T10" fmla="*/ 150 w 381"/>
                <a:gd name="T11" fmla="*/ 45 h 266"/>
                <a:gd name="T12" fmla="*/ 141 w 381"/>
                <a:gd name="T13" fmla="*/ 41 h 266"/>
                <a:gd name="T14" fmla="*/ 117 w 381"/>
                <a:gd name="T15" fmla="*/ 30 h 266"/>
                <a:gd name="T16" fmla="*/ 75 w 381"/>
                <a:gd name="T17" fmla="*/ 53 h 266"/>
                <a:gd name="T18" fmla="*/ 9 w 381"/>
                <a:gd name="T19" fmla="*/ 93 h 266"/>
                <a:gd name="T20" fmla="*/ 33 w 381"/>
                <a:gd name="T21" fmla="*/ 167 h 266"/>
                <a:gd name="T22" fmla="*/ 46 w 381"/>
                <a:gd name="T23" fmla="*/ 195 h 266"/>
                <a:gd name="T24" fmla="*/ 82 w 381"/>
                <a:gd name="T25" fmla="*/ 263 h 266"/>
                <a:gd name="T26" fmla="*/ 124 w 381"/>
                <a:gd name="T27" fmla="*/ 263 h 266"/>
                <a:gd name="T28" fmla="*/ 186 w 381"/>
                <a:gd name="T29" fmla="*/ 255 h 266"/>
                <a:gd name="T30" fmla="*/ 236 w 381"/>
                <a:gd name="T31" fmla="*/ 263 h 266"/>
                <a:gd name="T32" fmla="*/ 280 w 381"/>
                <a:gd name="T33" fmla="*/ 263 h 266"/>
                <a:gd name="T34" fmla="*/ 336 w 381"/>
                <a:gd name="T35" fmla="*/ 140 h 266"/>
                <a:gd name="T36" fmla="*/ 342 w 381"/>
                <a:gd name="T37" fmla="*/ 119 h 266"/>
                <a:gd name="T38" fmla="*/ 360 w 381"/>
                <a:gd name="T39" fmla="*/ 142 h 266"/>
                <a:gd name="T40" fmla="*/ 379 w 381"/>
                <a:gd name="T41" fmla="*/ 120 h 266"/>
                <a:gd name="T42" fmla="*/ 113 w 381"/>
                <a:gd name="T43" fmla="*/ 104 h 266"/>
                <a:gd name="T44" fmla="*/ 99 w 381"/>
                <a:gd name="T45" fmla="*/ 90 h 266"/>
                <a:gd name="T46" fmla="*/ 86 w 381"/>
                <a:gd name="T47" fmla="*/ 104 h 266"/>
                <a:gd name="T48" fmla="*/ 99 w 381"/>
                <a:gd name="T49" fmla="*/ 77 h 266"/>
                <a:gd name="T50" fmla="*/ 113 w 381"/>
                <a:gd name="T51" fmla="*/ 104 h 266"/>
                <a:gd name="T52" fmla="*/ 232 w 381"/>
                <a:gd name="T53" fmla="*/ 187 h 266"/>
                <a:gd name="T54" fmla="*/ 206 w 381"/>
                <a:gd name="T55" fmla="*/ 195 h 266"/>
                <a:gd name="T56" fmla="*/ 199 w 381"/>
                <a:gd name="T57" fmla="*/ 208 h 266"/>
                <a:gd name="T58" fmla="*/ 193 w 381"/>
                <a:gd name="T59" fmla="*/ 195 h 266"/>
                <a:gd name="T60" fmla="*/ 171 w 381"/>
                <a:gd name="T61" fmla="*/ 190 h 266"/>
                <a:gd name="T62" fmla="*/ 159 w 381"/>
                <a:gd name="T63" fmla="*/ 177 h 266"/>
                <a:gd name="T64" fmla="*/ 166 w 381"/>
                <a:gd name="T65" fmla="*/ 171 h 266"/>
                <a:gd name="T66" fmla="*/ 180 w 381"/>
                <a:gd name="T67" fmla="*/ 175 h 266"/>
                <a:gd name="T68" fmla="*/ 202 w 381"/>
                <a:gd name="T69" fmla="*/ 179 h 266"/>
                <a:gd name="T70" fmla="*/ 216 w 381"/>
                <a:gd name="T71" fmla="*/ 176 h 266"/>
                <a:gd name="T72" fmla="*/ 223 w 381"/>
                <a:gd name="T73" fmla="*/ 165 h 266"/>
                <a:gd name="T74" fmla="*/ 211 w 381"/>
                <a:gd name="T75" fmla="*/ 153 h 266"/>
                <a:gd name="T76" fmla="*/ 186 w 381"/>
                <a:gd name="T77" fmla="*/ 147 h 266"/>
                <a:gd name="T78" fmla="*/ 166 w 381"/>
                <a:gd name="T79" fmla="*/ 138 h 266"/>
                <a:gd name="T80" fmla="*/ 159 w 381"/>
                <a:gd name="T81" fmla="*/ 120 h 266"/>
                <a:gd name="T82" fmla="*/ 171 w 381"/>
                <a:gd name="T83" fmla="*/ 100 h 266"/>
                <a:gd name="T84" fmla="*/ 193 w 381"/>
                <a:gd name="T85" fmla="*/ 93 h 266"/>
                <a:gd name="T86" fmla="*/ 199 w 381"/>
                <a:gd name="T87" fmla="*/ 77 h 266"/>
                <a:gd name="T88" fmla="*/ 206 w 381"/>
                <a:gd name="T89" fmla="*/ 93 h 266"/>
                <a:gd name="T90" fmla="*/ 229 w 381"/>
                <a:gd name="T91" fmla="*/ 98 h 266"/>
                <a:gd name="T92" fmla="*/ 238 w 381"/>
                <a:gd name="T93" fmla="*/ 108 h 266"/>
                <a:gd name="T94" fmla="*/ 230 w 381"/>
                <a:gd name="T95" fmla="*/ 114 h 266"/>
                <a:gd name="T96" fmla="*/ 226 w 381"/>
                <a:gd name="T97" fmla="*/ 113 h 266"/>
                <a:gd name="T98" fmla="*/ 202 w 381"/>
                <a:gd name="T99" fmla="*/ 108 h 266"/>
                <a:gd name="T100" fmla="*/ 186 w 381"/>
                <a:gd name="T101" fmla="*/ 111 h 266"/>
                <a:gd name="T102" fmla="*/ 180 w 381"/>
                <a:gd name="T103" fmla="*/ 120 h 266"/>
                <a:gd name="T104" fmla="*/ 187 w 381"/>
                <a:gd name="T105" fmla="*/ 128 h 266"/>
                <a:gd name="T106" fmla="*/ 204 w 381"/>
                <a:gd name="T107" fmla="*/ 133 h 266"/>
                <a:gd name="T108" fmla="*/ 224 w 381"/>
                <a:gd name="T109" fmla="*/ 139 h 266"/>
                <a:gd name="T110" fmla="*/ 245 w 381"/>
                <a:gd name="T111" fmla="*/ 163 h 266"/>
                <a:gd name="T112" fmla="*/ 364 w 381"/>
                <a:gd name="T113" fmla="*/ 127 h 266"/>
                <a:gd name="T114" fmla="*/ 355 w 381"/>
                <a:gd name="T115" fmla="*/ 122 h 266"/>
                <a:gd name="T116" fmla="*/ 367 w 381"/>
                <a:gd name="T117" fmla="*/ 122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81" h="266">
                  <a:moveTo>
                    <a:pt x="373" y="109"/>
                  </a:moveTo>
                  <a:cubicBezTo>
                    <a:pt x="374" y="109"/>
                    <a:pt x="376" y="108"/>
                    <a:pt x="377" y="107"/>
                  </a:cubicBezTo>
                  <a:cubicBezTo>
                    <a:pt x="380" y="105"/>
                    <a:pt x="381" y="101"/>
                    <a:pt x="379" y="98"/>
                  </a:cubicBezTo>
                  <a:cubicBezTo>
                    <a:pt x="377" y="95"/>
                    <a:pt x="373" y="94"/>
                    <a:pt x="370" y="96"/>
                  </a:cubicBezTo>
                  <a:cubicBezTo>
                    <a:pt x="368" y="97"/>
                    <a:pt x="356" y="103"/>
                    <a:pt x="352" y="106"/>
                  </a:cubicBezTo>
                  <a:cubicBezTo>
                    <a:pt x="350" y="106"/>
                    <a:pt x="336" y="107"/>
                    <a:pt x="331" y="108"/>
                  </a:cubicBezTo>
                  <a:cubicBezTo>
                    <a:pt x="321" y="78"/>
                    <a:pt x="303" y="56"/>
                    <a:pt x="271" y="40"/>
                  </a:cubicBezTo>
                  <a:cubicBezTo>
                    <a:pt x="269" y="39"/>
                    <a:pt x="262" y="52"/>
                    <a:pt x="262" y="53"/>
                  </a:cubicBezTo>
                  <a:cubicBezTo>
                    <a:pt x="261" y="56"/>
                    <a:pt x="258" y="57"/>
                    <a:pt x="255" y="57"/>
                  </a:cubicBezTo>
                  <a:cubicBezTo>
                    <a:pt x="254" y="57"/>
                    <a:pt x="247" y="55"/>
                    <a:pt x="246" y="54"/>
                  </a:cubicBezTo>
                  <a:cubicBezTo>
                    <a:pt x="226" y="46"/>
                    <a:pt x="205" y="42"/>
                    <a:pt x="183" y="42"/>
                  </a:cubicBezTo>
                  <a:cubicBezTo>
                    <a:pt x="164" y="42"/>
                    <a:pt x="152" y="45"/>
                    <a:pt x="150" y="45"/>
                  </a:cubicBezTo>
                  <a:cubicBezTo>
                    <a:pt x="148" y="46"/>
                    <a:pt x="148" y="46"/>
                    <a:pt x="148" y="46"/>
                  </a:cubicBezTo>
                  <a:cubicBezTo>
                    <a:pt x="145" y="46"/>
                    <a:pt x="142" y="44"/>
                    <a:pt x="141" y="41"/>
                  </a:cubicBezTo>
                  <a:cubicBezTo>
                    <a:pt x="140" y="39"/>
                    <a:pt x="137" y="24"/>
                    <a:pt x="135" y="24"/>
                  </a:cubicBezTo>
                  <a:cubicBezTo>
                    <a:pt x="129" y="26"/>
                    <a:pt x="123" y="28"/>
                    <a:pt x="117" y="30"/>
                  </a:cubicBezTo>
                  <a:cubicBezTo>
                    <a:pt x="109" y="11"/>
                    <a:pt x="95" y="0"/>
                    <a:pt x="85" y="3"/>
                  </a:cubicBezTo>
                  <a:cubicBezTo>
                    <a:pt x="72" y="7"/>
                    <a:pt x="68" y="29"/>
                    <a:pt x="75" y="53"/>
                  </a:cubicBezTo>
                  <a:cubicBezTo>
                    <a:pt x="62" y="63"/>
                    <a:pt x="51" y="75"/>
                    <a:pt x="43" y="89"/>
                  </a:cubicBezTo>
                  <a:cubicBezTo>
                    <a:pt x="9" y="93"/>
                    <a:pt x="9" y="93"/>
                    <a:pt x="9" y="93"/>
                  </a:cubicBezTo>
                  <a:cubicBezTo>
                    <a:pt x="9" y="93"/>
                    <a:pt x="0" y="122"/>
                    <a:pt x="11" y="144"/>
                  </a:cubicBezTo>
                  <a:cubicBezTo>
                    <a:pt x="18" y="159"/>
                    <a:pt x="33" y="167"/>
                    <a:pt x="33" y="167"/>
                  </a:cubicBezTo>
                  <a:cubicBezTo>
                    <a:pt x="33" y="167"/>
                    <a:pt x="64" y="158"/>
                    <a:pt x="84" y="145"/>
                  </a:cubicBezTo>
                  <a:cubicBezTo>
                    <a:pt x="84" y="145"/>
                    <a:pt x="84" y="173"/>
                    <a:pt x="46" y="195"/>
                  </a:cubicBezTo>
                  <a:cubicBezTo>
                    <a:pt x="48" y="199"/>
                    <a:pt x="62" y="213"/>
                    <a:pt x="64" y="216"/>
                  </a:cubicBezTo>
                  <a:cubicBezTo>
                    <a:pt x="82" y="263"/>
                    <a:pt x="82" y="263"/>
                    <a:pt x="82" y="263"/>
                  </a:cubicBezTo>
                  <a:cubicBezTo>
                    <a:pt x="82" y="263"/>
                    <a:pt x="86" y="266"/>
                    <a:pt x="103" y="266"/>
                  </a:cubicBezTo>
                  <a:cubicBezTo>
                    <a:pt x="119" y="266"/>
                    <a:pt x="124" y="263"/>
                    <a:pt x="124" y="263"/>
                  </a:cubicBezTo>
                  <a:cubicBezTo>
                    <a:pt x="128" y="241"/>
                    <a:pt x="128" y="241"/>
                    <a:pt x="128" y="241"/>
                  </a:cubicBezTo>
                  <a:cubicBezTo>
                    <a:pt x="128" y="241"/>
                    <a:pt x="140" y="255"/>
                    <a:pt x="186" y="255"/>
                  </a:cubicBezTo>
                  <a:cubicBezTo>
                    <a:pt x="228" y="255"/>
                    <a:pt x="244" y="239"/>
                    <a:pt x="244" y="239"/>
                  </a:cubicBezTo>
                  <a:cubicBezTo>
                    <a:pt x="236" y="263"/>
                    <a:pt x="236" y="263"/>
                    <a:pt x="236" y="263"/>
                  </a:cubicBezTo>
                  <a:cubicBezTo>
                    <a:pt x="236" y="263"/>
                    <a:pt x="242" y="266"/>
                    <a:pt x="259" y="266"/>
                  </a:cubicBezTo>
                  <a:cubicBezTo>
                    <a:pt x="276" y="266"/>
                    <a:pt x="280" y="263"/>
                    <a:pt x="280" y="263"/>
                  </a:cubicBezTo>
                  <a:cubicBezTo>
                    <a:pt x="314" y="204"/>
                    <a:pt x="314" y="204"/>
                    <a:pt x="314" y="204"/>
                  </a:cubicBezTo>
                  <a:cubicBezTo>
                    <a:pt x="328" y="185"/>
                    <a:pt x="336" y="163"/>
                    <a:pt x="336" y="140"/>
                  </a:cubicBezTo>
                  <a:cubicBezTo>
                    <a:pt x="336" y="133"/>
                    <a:pt x="336" y="127"/>
                    <a:pt x="334" y="121"/>
                  </a:cubicBezTo>
                  <a:cubicBezTo>
                    <a:pt x="337" y="120"/>
                    <a:pt x="340" y="120"/>
                    <a:pt x="342" y="119"/>
                  </a:cubicBezTo>
                  <a:cubicBezTo>
                    <a:pt x="340" y="127"/>
                    <a:pt x="342" y="134"/>
                    <a:pt x="348" y="138"/>
                  </a:cubicBezTo>
                  <a:cubicBezTo>
                    <a:pt x="351" y="140"/>
                    <a:pt x="356" y="142"/>
                    <a:pt x="360" y="142"/>
                  </a:cubicBezTo>
                  <a:cubicBezTo>
                    <a:pt x="364" y="142"/>
                    <a:pt x="368" y="141"/>
                    <a:pt x="371" y="139"/>
                  </a:cubicBezTo>
                  <a:cubicBezTo>
                    <a:pt x="378" y="135"/>
                    <a:pt x="381" y="128"/>
                    <a:pt x="379" y="120"/>
                  </a:cubicBezTo>
                  <a:cubicBezTo>
                    <a:pt x="379" y="115"/>
                    <a:pt x="376" y="112"/>
                    <a:pt x="373" y="109"/>
                  </a:cubicBezTo>
                  <a:close/>
                  <a:moveTo>
                    <a:pt x="113" y="104"/>
                  </a:moveTo>
                  <a:cubicBezTo>
                    <a:pt x="109" y="104"/>
                    <a:pt x="106" y="101"/>
                    <a:pt x="106" y="97"/>
                  </a:cubicBezTo>
                  <a:cubicBezTo>
                    <a:pt x="106" y="93"/>
                    <a:pt x="103" y="90"/>
                    <a:pt x="99" y="90"/>
                  </a:cubicBezTo>
                  <a:cubicBezTo>
                    <a:pt x="95" y="90"/>
                    <a:pt x="92" y="93"/>
                    <a:pt x="92" y="97"/>
                  </a:cubicBezTo>
                  <a:cubicBezTo>
                    <a:pt x="92" y="101"/>
                    <a:pt x="89" y="104"/>
                    <a:pt x="86" y="104"/>
                  </a:cubicBezTo>
                  <a:cubicBezTo>
                    <a:pt x="82" y="104"/>
                    <a:pt x="79" y="101"/>
                    <a:pt x="79" y="97"/>
                  </a:cubicBezTo>
                  <a:cubicBezTo>
                    <a:pt x="79" y="86"/>
                    <a:pt x="88" y="77"/>
                    <a:pt x="99" y="77"/>
                  </a:cubicBezTo>
                  <a:cubicBezTo>
                    <a:pt x="110" y="77"/>
                    <a:pt x="119" y="86"/>
                    <a:pt x="119" y="97"/>
                  </a:cubicBezTo>
                  <a:cubicBezTo>
                    <a:pt x="119" y="101"/>
                    <a:pt x="116" y="104"/>
                    <a:pt x="113" y="104"/>
                  </a:cubicBezTo>
                  <a:close/>
                  <a:moveTo>
                    <a:pt x="241" y="176"/>
                  </a:moveTo>
                  <a:cubicBezTo>
                    <a:pt x="239" y="181"/>
                    <a:pt x="236" y="184"/>
                    <a:pt x="232" y="187"/>
                  </a:cubicBezTo>
                  <a:cubicBezTo>
                    <a:pt x="228" y="189"/>
                    <a:pt x="223" y="191"/>
                    <a:pt x="217" y="193"/>
                  </a:cubicBezTo>
                  <a:cubicBezTo>
                    <a:pt x="214" y="194"/>
                    <a:pt x="210" y="194"/>
                    <a:pt x="206" y="195"/>
                  </a:cubicBezTo>
                  <a:cubicBezTo>
                    <a:pt x="206" y="201"/>
                    <a:pt x="206" y="201"/>
                    <a:pt x="206" y="201"/>
                  </a:cubicBezTo>
                  <a:cubicBezTo>
                    <a:pt x="206" y="205"/>
                    <a:pt x="203" y="208"/>
                    <a:pt x="199" y="208"/>
                  </a:cubicBezTo>
                  <a:cubicBezTo>
                    <a:pt x="196" y="208"/>
                    <a:pt x="193" y="205"/>
                    <a:pt x="193" y="201"/>
                  </a:cubicBezTo>
                  <a:cubicBezTo>
                    <a:pt x="193" y="195"/>
                    <a:pt x="193" y="195"/>
                    <a:pt x="193" y="195"/>
                  </a:cubicBezTo>
                  <a:cubicBezTo>
                    <a:pt x="190" y="194"/>
                    <a:pt x="187" y="194"/>
                    <a:pt x="184" y="193"/>
                  </a:cubicBezTo>
                  <a:cubicBezTo>
                    <a:pt x="179" y="193"/>
                    <a:pt x="175" y="191"/>
                    <a:pt x="171" y="190"/>
                  </a:cubicBezTo>
                  <a:cubicBezTo>
                    <a:pt x="167" y="188"/>
                    <a:pt x="164" y="186"/>
                    <a:pt x="162" y="184"/>
                  </a:cubicBezTo>
                  <a:cubicBezTo>
                    <a:pt x="160" y="182"/>
                    <a:pt x="159" y="180"/>
                    <a:pt x="159" y="177"/>
                  </a:cubicBezTo>
                  <a:cubicBezTo>
                    <a:pt x="159" y="175"/>
                    <a:pt x="159" y="174"/>
                    <a:pt x="161" y="173"/>
                  </a:cubicBezTo>
                  <a:cubicBezTo>
                    <a:pt x="162" y="171"/>
                    <a:pt x="164" y="171"/>
                    <a:pt x="166" y="171"/>
                  </a:cubicBezTo>
                  <a:cubicBezTo>
                    <a:pt x="168" y="171"/>
                    <a:pt x="169" y="171"/>
                    <a:pt x="172" y="172"/>
                  </a:cubicBezTo>
                  <a:cubicBezTo>
                    <a:pt x="174" y="173"/>
                    <a:pt x="177" y="174"/>
                    <a:pt x="180" y="175"/>
                  </a:cubicBezTo>
                  <a:cubicBezTo>
                    <a:pt x="183" y="176"/>
                    <a:pt x="186" y="177"/>
                    <a:pt x="190" y="178"/>
                  </a:cubicBezTo>
                  <a:cubicBezTo>
                    <a:pt x="194" y="179"/>
                    <a:pt x="198" y="179"/>
                    <a:pt x="202" y="179"/>
                  </a:cubicBezTo>
                  <a:cubicBezTo>
                    <a:pt x="205" y="179"/>
                    <a:pt x="207" y="179"/>
                    <a:pt x="210" y="179"/>
                  </a:cubicBezTo>
                  <a:cubicBezTo>
                    <a:pt x="212" y="178"/>
                    <a:pt x="214" y="177"/>
                    <a:pt x="216" y="176"/>
                  </a:cubicBezTo>
                  <a:cubicBezTo>
                    <a:pt x="218" y="175"/>
                    <a:pt x="220" y="173"/>
                    <a:pt x="221" y="171"/>
                  </a:cubicBezTo>
                  <a:cubicBezTo>
                    <a:pt x="222" y="169"/>
                    <a:pt x="223" y="167"/>
                    <a:pt x="223" y="165"/>
                  </a:cubicBezTo>
                  <a:cubicBezTo>
                    <a:pt x="223" y="162"/>
                    <a:pt x="222" y="160"/>
                    <a:pt x="220" y="158"/>
                  </a:cubicBezTo>
                  <a:cubicBezTo>
                    <a:pt x="218" y="156"/>
                    <a:pt x="215" y="154"/>
                    <a:pt x="211" y="153"/>
                  </a:cubicBezTo>
                  <a:cubicBezTo>
                    <a:pt x="207" y="152"/>
                    <a:pt x="202" y="151"/>
                    <a:pt x="198" y="150"/>
                  </a:cubicBezTo>
                  <a:cubicBezTo>
                    <a:pt x="194" y="149"/>
                    <a:pt x="190" y="148"/>
                    <a:pt x="186" y="147"/>
                  </a:cubicBezTo>
                  <a:cubicBezTo>
                    <a:pt x="182" y="146"/>
                    <a:pt x="178" y="145"/>
                    <a:pt x="175" y="143"/>
                  </a:cubicBezTo>
                  <a:cubicBezTo>
                    <a:pt x="172" y="142"/>
                    <a:pt x="169" y="140"/>
                    <a:pt x="166" y="138"/>
                  </a:cubicBezTo>
                  <a:cubicBezTo>
                    <a:pt x="164" y="136"/>
                    <a:pt x="162" y="134"/>
                    <a:pt x="161" y="131"/>
                  </a:cubicBezTo>
                  <a:cubicBezTo>
                    <a:pt x="159" y="128"/>
                    <a:pt x="159" y="124"/>
                    <a:pt x="159" y="120"/>
                  </a:cubicBezTo>
                  <a:cubicBezTo>
                    <a:pt x="159" y="116"/>
                    <a:pt x="160" y="112"/>
                    <a:pt x="162" y="109"/>
                  </a:cubicBezTo>
                  <a:cubicBezTo>
                    <a:pt x="164" y="105"/>
                    <a:pt x="167" y="102"/>
                    <a:pt x="171" y="100"/>
                  </a:cubicBezTo>
                  <a:cubicBezTo>
                    <a:pt x="174" y="97"/>
                    <a:pt x="179" y="95"/>
                    <a:pt x="184" y="94"/>
                  </a:cubicBezTo>
                  <a:cubicBezTo>
                    <a:pt x="187" y="94"/>
                    <a:pt x="190" y="93"/>
                    <a:pt x="193" y="93"/>
                  </a:cubicBezTo>
                  <a:cubicBezTo>
                    <a:pt x="193" y="84"/>
                    <a:pt x="193" y="84"/>
                    <a:pt x="193" y="84"/>
                  </a:cubicBezTo>
                  <a:cubicBezTo>
                    <a:pt x="193" y="80"/>
                    <a:pt x="196" y="77"/>
                    <a:pt x="199" y="77"/>
                  </a:cubicBezTo>
                  <a:cubicBezTo>
                    <a:pt x="203" y="77"/>
                    <a:pt x="206" y="80"/>
                    <a:pt x="206" y="84"/>
                  </a:cubicBezTo>
                  <a:cubicBezTo>
                    <a:pt x="206" y="93"/>
                    <a:pt x="206" y="93"/>
                    <a:pt x="206" y="93"/>
                  </a:cubicBezTo>
                  <a:cubicBezTo>
                    <a:pt x="210" y="93"/>
                    <a:pt x="214" y="93"/>
                    <a:pt x="217" y="94"/>
                  </a:cubicBezTo>
                  <a:cubicBezTo>
                    <a:pt x="222" y="95"/>
                    <a:pt x="226" y="96"/>
                    <a:pt x="229" y="98"/>
                  </a:cubicBezTo>
                  <a:cubicBezTo>
                    <a:pt x="232" y="99"/>
                    <a:pt x="234" y="101"/>
                    <a:pt x="236" y="103"/>
                  </a:cubicBezTo>
                  <a:cubicBezTo>
                    <a:pt x="237" y="105"/>
                    <a:pt x="238" y="107"/>
                    <a:pt x="238" y="108"/>
                  </a:cubicBezTo>
                  <a:cubicBezTo>
                    <a:pt x="238" y="110"/>
                    <a:pt x="237" y="112"/>
                    <a:pt x="236" y="113"/>
                  </a:cubicBezTo>
                  <a:cubicBezTo>
                    <a:pt x="234" y="114"/>
                    <a:pt x="232" y="114"/>
                    <a:pt x="230" y="114"/>
                  </a:cubicBezTo>
                  <a:cubicBezTo>
                    <a:pt x="230" y="114"/>
                    <a:pt x="229" y="114"/>
                    <a:pt x="228" y="114"/>
                  </a:cubicBezTo>
                  <a:cubicBezTo>
                    <a:pt x="227" y="114"/>
                    <a:pt x="227" y="114"/>
                    <a:pt x="226" y="113"/>
                  </a:cubicBezTo>
                  <a:cubicBezTo>
                    <a:pt x="223" y="112"/>
                    <a:pt x="220" y="111"/>
                    <a:pt x="216" y="110"/>
                  </a:cubicBezTo>
                  <a:cubicBezTo>
                    <a:pt x="212" y="109"/>
                    <a:pt x="207" y="108"/>
                    <a:pt x="202" y="108"/>
                  </a:cubicBezTo>
                  <a:cubicBezTo>
                    <a:pt x="199" y="108"/>
                    <a:pt x="196" y="108"/>
                    <a:pt x="193" y="109"/>
                  </a:cubicBezTo>
                  <a:cubicBezTo>
                    <a:pt x="190" y="109"/>
                    <a:pt x="188" y="110"/>
                    <a:pt x="186" y="111"/>
                  </a:cubicBezTo>
                  <a:cubicBezTo>
                    <a:pt x="185" y="112"/>
                    <a:pt x="183" y="113"/>
                    <a:pt x="182" y="115"/>
                  </a:cubicBezTo>
                  <a:cubicBezTo>
                    <a:pt x="181" y="117"/>
                    <a:pt x="180" y="118"/>
                    <a:pt x="180" y="120"/>
                  </a:cubicBezTo>
                  <a:cubicBezTo>
                    <a:pt x="180" y="122"/>
                    <a:pt x="181" y="123"/>
                    <a:pt x="182" y="125"/>
                  </a:cubicBezTo>
                  <a:cubicBezTo>
                    <a:pt x="184" y="126"/>
                    <a:pt x="185" y="127"/>
                    <a:pt x="187" y="128"/>
                  </a:cubicBezTo>
                  <a:cubicBezTo>
                    <a:pt x="189" y="129"/>
                    <a:pt x="192" y="130"/>
                    <a:pt x="194" y="131"/>
                  </a:cubicBezTo>
                  <a:cubicBezTo>
                    <a:pt x="197" y="132"/>
                    <a:pt x="200" y="132"/>
                    <a:pt x="204" y="133"/>
                  </a:cubicBezTo>
                  <a:cubicBezTo>
                    <a:pt x="207" y="134"/>
                    <a:pt x="210" y="135"/>
                    <a:pt x="214" y="136"/>
                  </a:cubicBezTo>
                  <a:cubicBezTo>
                    <a:pt x="217" y="137"/>
                    <a:pt x="221" y="138"/>
                    <a:pt x="224" y="139"/>
                  </a:cubicBezTo>
                  <a:cubicBezTo>
                    <a:pt x="231" y="141"/>
                    <a:pt x="236" y="144"/>
                    <a:pt x="239" y="148"/>
                  </a:cubicBezTo>
                  <a:cubicBezTo>
                    <a:pt x="243" y="152"/>
                    <a:pt x="245" y="157"/>
                    <a:pt x="245" y="163"/>
                  </a:cubicBezTo>
                  <a:cubicBezTo>
                    <a:pt x="245" y="168"/>
                    <a:pt x="244" y="172"/>
                    <a:pt x="241" y="176"/>
                  </a:cubicBezTo>
                  <a:close/>
                  <a:moveTo>
                    <a:pt x="364" y="127"/>
                  </a:moveTo>
                  <a:cubicBezTo>
                    <a:pt x="362" y="129"/>
                    <a:pt x="358" y="129"/>
                    <a:pt x="356" y="127"/>
                  </a:cubicBezTo>
                  <a:cubicBezTo>
                    <a:pt x="355" y="127"/>
                    <a:pt x="354" y="126"/>
                    <a:pt x="355" y="122"/>
                  </a:cubicBezTo>
                  <a:cubicBezTo>
                    <a:pt x="355" y="121"/>
                    <a:pt x="356" y="120"/>
                    <a:pt x="357" y="119"/>
                  </a:cubicBezTo>
                  <a:cubicBezTo>
                    <a:pt x="362" y="119"/>
                    <a:pt x="366" y="120"/>
                    <a:pt x="367" y="122"/>
                  </a:cubicBezTo>
                  <a:cubicBezTo>
                    <a:pt x="367" y="125"/>
                    <a:pt x="366" y="126"/>
                    <a:pt x="364" y="1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xmlns="" id="{1FFCA7CA-B38C-441D-8F8D-1D7B3AE40839}"/>
              </a:ext>
            </a:extLst>
          </p:cNvPr>
          <p:cNvGrpSpPr/>
          <p:nvPr/>
        </p:nvGrpSpPr>
        <p:grpSpPr>
          <a:xfrm>
            <a:off x="2262385" y="2710357"/>
            <a:ext cx="412654" cy="379155"/>
            <a:chOff x="2414785" y="2710357"/>
            <a:chExt cx="412654" cy="379155"/>
          </a:xfrm>
        </p:grpSpPr>
        <p:sp>
          <p:nvSpPr>
            <p:cNvPr id="36318" name="Freeform 280"/>
            <p:cNvSpPr>
              <a:spLocks/>
            </p:cNvSpPr>
            <p:nvPr/>
          </p:nvSpPr>
          <p:spPr bwMode="auto">
            <a:xfrm>
              <a:off x="2414785" y="2710357"/>
              <a:ext cx="412654" cy="217240"/>
            </a:xfrm>
            <a:custGeom>
              <a:avLst/>
              <a:gdLst>
                <a:gd name="T0" fmla="*/ 314 w 344"/>
                <a:gd name="T1" fmla="*/ 2 h 181"/>
                <a:gd name="T2" fmla="*/ 266 w 344"/>
                <a:gd name="T3" fmla="*/ 6 h 181"/>
                <a:gd name="T4" fmla="*/ 255 w 344"/>
                <a:gd name="T5" fmla="*/ 35 h 181"/>
                <a:gd name="T6" fmla="*/ 266 w 344"/>
                <a:gd name="T7" fmla="*/ 48 h 181"/>
                <a:gd name="T8" fmla="*/ 178 w 344"/>
                <a:gd name="T9" fmla="*/ 111 h 181"/>
                <a:gd name="T10" fmla="*/ 163 w 344"/>
                <a:gd name="T11" fmla="*/ 114 h 181"/>
                <a:gd name="T12" fmla="*/ 112 w 344"/>
                <a:gd name="T13" fmla="*/ 103 h 181"/>
                <a:gd name="T14" fmla="*/ 96 w 344"/>
                <a:gd name="T15" fmla="*/ 105 h 181"/>
                <a:gd name="T16" fmla="*/ 11 w 344"/>
                <a:gd name="T17" fmla="*/ 146 h 181"/>
                <a:gd name="T18" fmla="*/ 0 w 344"/>
                <a:gd name="T19" fmla="*/ 166 h 181"/>
                <a:gd name="T20" fmla="*/ 14 w 344"/>
                <a:gd name="T21" fmla="*/ 179 h 181"/>
                <a:gd name="T22" fmla="*/ 100 w 344"/>
                <a:gd name="T23" fmla="*/ 137 h 181"/>
                <a:gd name="T24" fmla="*/ 116 w 344"/>
                <a:gd name="T25" fmla="*/ 135 h 181"/>
                <a:gd name="T26" fmla="*/ 172 w 344"/>
                <a:gd name="T27" fmla="*/ 148 h 181"/>
                <a:gd name="T28" fmla="*/ 187 w 344"/>
                <a:gd name="T29" fmla="*/ 144 h 181"/>
                <a:gd name="T30" fmla="*/ 286 w 344"/>
                <a:gd name="T31" fmla="*/ 72 h 181"/>
                <a:gd name="T32" fmla="*/ 299 w 344"/>
                <a:gd name="T33" fmla="*/ 86 h 181"/>
                <a:gd name="T34" fmla="*/ 329 w 344"/>
                <a:gd name="T35" fmla="*/ 78 h 181"/>
                <a:gd name="T36" fmla="*/ 340 w 344"/>
                <a:gd name="T37" fmla="*/ 32 h 181"/>
                <a:gd name="T38" fmla="*/ 314 w 344"/>
                <a:gd name="T39" fmla="*/ 2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44" h="181">
                  <a:moveTo>
                    <a:pt x="314" y="2"/>
                  </a:moveTo>
                  <a:cubicBezTo>
                    <a:pt x="266" y="6"/>
                    <a:pt x="266" y="6"/>
                    <a:pt x="266" y="6"/>
                  </a:cubicBezTo>
                  <a:cubicBezTo>
                    <a:pt x="248" y="8"/>
                    <a:pt x="242" y="21"/>
                    <a:pt x="255" y="35"/>
                  </a:cubicBezTo>
                  <a:cubicBezTo>
                    <a:pt x="266" y="48"/>
                    <a:pt x="266" y="48"/>
                    <a:pt x="266" y="48"/>
                  </a:cubicBezTo>
                  <a:cubicBezTo>
                    <a:pt x="178" y="111"/>
                    <a:pt x="178" y="111"/>
                    <a:pt x="178" y="111"/>
                  </a:cubicBezTo>
                  <a:cubicBezTo>
                    <a:pt x="175" y="114"/>
                    <a:pt x="168" y="115"/>
                    <a:pt x="163" y="114"/>
                  </a:cubicBezTo>
                  <a:cubicBezTo>
                    <a:pt x="112" y="103"/>
                    <a:pt x="112" y="103"/>
                    <a:pt x="112" y="103"/>
                  </a:cubicBezTo>
                  <a:cubicBezTo>
                    <a:pt x="108" y="102"/>
                    <a:pt x="100" y="103"/>
                    <a:pt x="96" y="105"/>
                  </a:cubicBezTo>
                  <a:cubicBezTo>
                    <a:pt x="11" y="146"/>
                    <a:pt x="11" y="146"/>
                    <a:pt x="11" y="146"/>
                  </a:cubicBezTo>
                  <a:cubicBezTo>
                    <a:pt x="11" y="146"/>
                    <a:pt x="0" y="151"/>
                    <a:pt x="0" y="166"/>
                  </a:cubicBezTo>
                  <a:cubicBezTo>
                    <a:pt x="0" y="180"/>
                    <a:pt x="9" y="181"/>
                    <a:pt x="14" y="179"/>
                  </a:cubicBezTo>
                  <a:cubicBezTo>
                    <a:pt x="18" y="177"/>
                    <a:pt x="100" y="137"/>
                    <a:pt x="100" y="137"/>
                  </a:cubicBezTo>
                  <a:cubicBezTo>
                    <a:pt x="104" y="135"/>
                    <a:pt x="111" y="134"/>
                    <a:pt x="116" y="135"/>
                  </a:cubicBezTo>
                  <a:cubicBezTo>
                    <a:pt x="172" y="148"/>
                    <a:pt x="172" y="148"/>
                    <a:pt x="172" y="148"/>
                  </a:cubicBezTo>
                  <a:cubicBezTo>
                    <a:pt x="176" y="149"/>
                    <a:pt x="183" y="147"/>
                    <a:pt x="187" y="144"/>
                  </a:cubicBezTo>
                  <a:cubicBezTo>
                    <a:pt x="286" y="72"/>
                    <a:pt x="286" y="72"/>
                    <a:pt x="286" y="72"/>
                  </a:cubicBezTo>
                  <a:cubicBezTo>
                    <a:pt x="299" y="86"/>
                    <a:pt x="299" y="86"/>
                    <a:pt x="299" y="86"/>
                  </a:cubicBezTo>
                  <a:cubicBezTo>
                    <a:pt x="311" y="100"/>
                    <a:pt x="325" y="97"/>
                    <a:pt x="329" y="78"/>
                  </a:cubicBezTo>
                  <a:cubicBezTo>
                    <a:pt x="340" y="32"/>
                    <a:pt x="340" y="32"/>
                    <a:pt x="340" y="32"/>
                  </a:cubicBezTo>
                  <a:cubicBezTo>
                    <a:pt x="344" y="13"/>
                    <a:pt x="333" y="0"/>
                    <a:pt x="314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19" name="Freeform 281"/>
            <p:cNvSpPr>
              <a:spLocks noEditPoints="1"/>
            </p:cNvSpPr>
            <p:nvPr/>
          </p:nvSpPr>
          <p:spPr bwMode="auto">
            <a:xfrm>
              <a:off x="2714758" y="2857552"/>
              <a:ext cx="104559" cy="49235"/>
            </a:xfrm>
            <a:custGeom>
              <a:avLst/>
              <a:gdLst>
                <a:gd name="T0" fmla="*/ 87 w 87"/>
                <a:gd name="T1" fmla="*/ 13 h 41"/>
                <a:gd name="T2" fmla="*/ 44 w 87"/>
                <a:gd name="T3" fmla="*/ 0 h 41"/>
                <a:gd name="T4" fmla="*/ 0 w 87"/>
                <a:gd name="T5" fmla="*/ 13 h 41"/>
                <a:gd name="T6" fmla="*/ 0 w 87"/>
                <a:gd name="T7" fmla="*/ 27 h 41"/>
                <a:gd name="T8" fmla="*/ 0 w 87"/>
                <a:gd name="T9" fmla="*/ 27 h 41"/>
                <a:gd name="T10" fmla="*/ 44 w 87"/>
                <a:gd name="T11" fmla="*/ 41 h 41"/>
                <a:gd name="T12" fmla="*/ 87 w 87"/>
                <a:gd name="T13" fmla="*/ 27 h 41"/>
                <a:gd name="T14" fmla="*/ 87 w 87"/>
                <a:gd name="T15" fmla="*/ 27 h 41"/>
                <a:gd name="T16" fmla="*/ 87 w 87"/>
                <a:gd name="T17" fmla="*/ 13 h 41"/>
                <a:gd name="T18" fmla="*/ 44 w 87"/>
                <a:gd name="T19" fmla="*/ 7 h 41"/>
                <a:gd name="T20" fmla="*/ 81 w 87"/>
                <a:gd name="T21" fmla="*/ 13 h 41"/>
                <a:gd name="T22" fmla="*/ 44 w 87"/>
                <a:gd name="T23" fmla="*/ 20 h 41"/>
                <a:gd name="T24" fmla="*/ 6 w 87"/>
                <a:gd name="T25" fmla="*/ 14 h 41"/>
                <a:gd name="T26" fmla="*/ 44 w 87"/>
                <a:gd name="T27" fmla="*/ 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7" h="41">
                  <a:moveTo>
                    <a:pt x="87" y="13"/>
                  </a:moveTo>
                  <a:cubicBezTo>
                    <a:pt x="87" y="0"/>
                    <a:pt x="48" y="0"/>
                    <a:pt x="44" y="0"/>
                  </a:cubicBezTo>
                  <a:cubicBezTo>
                    <a:pt x="39" y="0"/>
                    <a:pt x="0" y="0"/>
                    <a:pt x="0" y="1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40"/>
                    <a:pt x="43" y="41"/>
                    <a:pt x="44" y="41"/>
                  </a:cubicBezTo>
                  <a:cubicBezTo>
                    <a:pt x="44" y="41"/>
                    <a:pt x="87" y="40"/>
                    <a:pt x="87" y="27"/>
                  </a:cubicBezTo>
                  <a:cubicBezTo>
                    <a:pt x="87" y="27"/>
                    <a:pt x="87" y="27"/>
                    <a:pt x="87" y="27"/>
                  </a:cubicBezTo>
                  <a:lnTo>
                    <a:pt x="87" y="13"/>
                  </a:lnTo>
                  <a:close/>
                  <a:moveTo>
                    <a:pt x="44" y="7"/>
                  </a:moveTo>
                  <a:cubicBezTo>
                    <a:pt x="66" y="7"/>
                    <a:pt x="80" y="11"/>
                    <a:pt x="81" y="13"/>
                  </a:cubicBezTo>
                  <a:cubicBezTo>
                    <a:pt x="80" y="16"/>
                    <a:pt x="66" y="20"/>
                    <a:pt x="44" y="20"/>
                  </a:cubicBezTo>
                  <a:cubicBezTo>
                    <a:pt x="21" y="20"/>
                    <a:pt x="7" y="16"/>
                    <a:pt x="6" y="14"/>
                  </a:cubicBezTo>
                  <a:cubicBezTo>
                    <a:pt x="7" y="11"/>
                    <a:pt x="21" y="7"/>
                    <a:pt x="44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20" name="Freeform 282"/>
            <p:cNvSpPr>
              <a:spLocks/>
            </p:cNvSpPr>
            <p:nvPr/>
          </p:nvSpPr>
          <p:spPr bwMode="auto">
            <a:xfrm>
              <a:off x="2714758" y="2911863"/>
              <a:ext cx="104559" cy="32485"/>
            </a:xfrm>
            <a:custGeom>
              <a:avLst/>
              <a:gdLst>
                <a:gd name="T0" fmla="*/ 44 w 87"/>
                <a:gd name="T1" fmla="*/ 9 h 27"/>
                <a:gd name="T2" fmla="*/ 0 w 87"/>
                <a:gd name="T3" fmla="*/ 0 h 27"/>
                <a:gd name="T4" fmla="*/ 0 w 87"/>
                <a:gd name="T5" fmla="*/ 13 h 27"/>
                <a:gd name="T6" fmla="*/ 0 w 87"/>
                <a:gd name="T7" fmla="*/ 13 h 27"/>
                <a:gd name="T8" fmla="*/ 44 w 87"/>
                <a:gd name="T9" fmla="*/ 27 h 27"/>
                <a:gd name="T10" fmla="*/ 87 w 87"/>
                <a:gd name="T11" fmla="*/ 13 h 27"/>
                <a:gd name="T12" fmla="*/ 87 w 87"/>
                <a:gd name="T13" fmla="*/ 13 h 27"/>
                <a:gd name="T14" fmla="*/ 87 w 87"/>
                <a:gd name="T15" fmla="*/ 0 h 27"/>
                <a:gd name="T16" fmla="*/ 44 w 87"/>
                <a:gd name="T17" fmla="*/ 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" h="27">
                  <a:moveTo>
                    <a:pt x="44" y="9"/>
                  </a:moveTo>
                  <a:cubicBezTo>
                    <a:pt x="43" y="9"/>
                    <a:pt x="9" y="9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27"/>
                    <a:pt x="43" y="27"/>
                    <a:pt x="44" y="27"/>
                  </a:cubicBezTo>
                  <a:cubicBezTo>
                    <a:pt x="44" y="27"/>
                    <a:pt x="87" y="27"/>
                    <a:pt x="87" y="13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78" y="9"/>
                    <a:pt x="44" y="9"/>
                    <a:pt x="44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21" name="Freeform 283"/>
            <p:cNvSpPr>
              <a:spLocks/>
            </p:cNvSpPr>
            <p:nvPr/>
          </p:nvSpPr>
          <p:spPr bwMode="auto">
            <a:xfrm>
              <a:off x="2714758" y="2947900"/>
              <a:ext cx="104559" cy="32485"/>
            </a:xfrm>
            <a:custGeom>
              <a:avLst/>
              <a:gdLst>
                <a:gd name="T0" fmla="*/ 44 w 87"/>
                <a:gd name="T1" fmla="*/ 10 h 27"/>
                <a:gd name="T2" fmla="*/ 0 w 87"/>
                <a:gd name="T3" fmla="*/ 0 h 27"/>
                <a:gd name="T4" fmla="*/ 0 w 87"/>
                <a:gd name="T5" fmla="*/ 13 h 27"/>
                <a:gd name="T6" fmla="*/ 0 w 87"/>
                <a:gd name="T7" fmla="*/ 13 h 27"/>
                <a:gd name="T8" fmla="*/ 44 w 87"/>
                <a:gd name="T9" fmla="*/ 27 h 27"/>
                <a:gd name="T10" fmla="*/ 87 w 87"/>
                <a:gd name="T11" fmla="*/ 13 h 27"/>
                <a:gd name="T12" fmla="*/ 87 w 87"/>
                <a:gd name="T13" fmla="*/ 13 h 27"/>
                <a:gd name="T14" fmla="*/ 87 w 87"/>
                <a:gd name="T15" fmla="*/ 0 h 27"/>
                <a:gd name="T16" fmla="*/ 44 w 87"/>
                <a:gd name="T17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" h="27">
                  <a:moveTo>
                    <a:pt x="44" y="10"/>
                  </a:moveTo>
                  <a:cubicBezTo>
                    <a:pt x="43" y="10"/>
                    <a:pt x="9" y="9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27"/>
                    <a:pt x="43" y="27"/>
                    <a:pt x="44" y="27"/>
                  </a:cubicBezTo>
                  <a:cubicBezTo>
                    <a:pt x="44" y="27"/>
                    <a:pt x="87" y="27"/>
                    <a:pt x="87" y="13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78" y="9"/>
                    <a:pt x="44" y="10"/>
                    <a:pt x="44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22" name="Freeform 284"/>
            <p:cNvSpPr>
              <a:spLocks/>
            </p:cNvSpPr>
            <p:nvPr/>
          </p:nvSpPr>
          <p:spPr bwMode="auto">
            <a:xfrm>
              <a:off x="2714758" y="2984953"/>
              <a:ext cx="104559" cy="31469"/>
            </a:xfrm>
            <a:custGeom>
              <a:avLst/>
              <a:gdLst>
                <a:gd name="T0" fmla="*/ 44 w 87"/>
                <a:gd name="T1" fmla="*/ 9 h 26"/>
                <a:gd name="T2" fmla="*/ 0 w 87"/>
                <a:gd name="T3" fmla="*/ 0 h 26"/>
                <a:gd name="T4" fmla="*/ 0 w 87"/>
                <a:gd name="T5" fmla="*/ 13 h 26"/>
                <a:gd name="T6" fmla="*/ 0 w 87"/>
                <a:gd name="T7" fmla="*/ 13 h 26"/>
                <a:gd name="T8" fmla="*/ 44 w 87"/>
                <a:gd name="T9" fmla="*/ 26 h 26"/>
                <a:gd name="T10" fmla="*/ 87 w 87"/>
                <a:gd name="T11" fmla="*/ 13 h 26"/>
                <a:gd name="T12" fmla="*/ 87 w 87"/>
                <a:gd name="T13" fmla="*/ 13 h 26"/>
                <a:gd name="T14" fmla="*/ 87 w 87"/>
                <a:gd name="T15" fmla="*/ 0 h 26"/>
                <a:gd name="T16" fmla="*/ 44 w 87"/>
                <a:gd name="T17" fmla="*/ 9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" h="26">
                  <a:moveTo>
                    <a:pt x="44" y="9"/>
                  </a:moveTo>
                  <a:cubicBezTo>
                    <a:pt x="43" y="9"/>
                    <a:pt x="9" y="9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26"/>
                    <a:pt x="43" y="26"/>
                    <a:pt x="44" y="26"/>
                  </a:cubicBezTo>
                  <a:cubicBezTo>
                    <a:pt x="44" y="26"/>
                    <a:pt x="87" y="26"/>
                    <a:pt x="87" y="13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78" y="9"/>
                    <a:pt x="44" y="9"/>
                    <a:pt x="44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23" name="Freeform 285"/>
            <p:cNvSpPr>
              <a:spLocks/>
            </p:cNvSpPr>
            <p:nvPr/>
          </p:nvSpPr>
          <p:spPr bwMode="auto">
            <a:xfrm>
              <a:off x="2714758" y="3020989"/>
              <a:ext cx="104559" cy="30961"/>
            </a:xfrm>
            <a:custGeom>
              <a:avLst/>
              <a:gdLst>
                <a:gd name="T0" fmla="*/ 44 w 87"/>
                <a:gd name="T1" fmla="*/ 9 h 26"/>
                <a:gd name="T2" fmla="*/ 0 w 87"/>
                <a:gd name="T3" fmla="*/ 0 h 26"/>
                <a:gd name="T4" fmla="*/ 0 w 87"/>
                <a:gd name="T5" fmla="*/ 13 h 26"/>
                <a:gd name="T6" fmla="*/ 0 w 87"/>
                <a:gd name="T7" fmla="*/ 13 h 26"/>
                <a:gd name="T8" fmla="*/ 44 w 87"/>
                <a:gd name="T9" fmla="*/ 26 h 26"/>
                <a:gd name="T10" fmla="*/ 87 w 87"/>
                <a:gd name="T11" fmla="*/ 13 h 26"/>
                <a:gd name="T12" fmla="*/ 87 w 87"/>
                <a:gd name="T13" fmla="*/ 13 h 26"/>
                <a:gd name="T14" fmla="*/ 87 w 87"/>
                <a:gd name="T15" fmla="*/ 0 h 26"/>
                <a:gd name="T16" fmla="*/ 44 w 87"/>
                <a:gd name="T17" fmla="*/ 9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" h="26">
                  <a:moveTo>
                    <a:pt x="44" y="9"/>
                  </a:moveTo>
                  <a:cubicBezTo>
                    <a:pt x="43" y="9"/>
                    <a:pt x="9" y="9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26"/>
                    <a:pt x="43" y="26"/>
                    <a:pt x="44" y="26"/>
                  </a:cubicBezTo>
                  <a:cubicBezTo>
                    <a:pt x="44" y="26"/>
                    <a:pt x="87" y="26"/>
                    <a:pt x="87" y="13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78" y="9"/>
                    <a:pt x="44" y="9"/>
                    <a:pt x="44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24" name="Freeform 286"/>
            <p:cNvSpPr>
              <a:spLocks/>
            </p:cNvSpPr>
            <p:nvPr/>
          </p:nvSpPr>
          <p:spPr bwMode="auto">
            <a:xfrm>
              <a:off x="2714758" y="3057027"/>
              <a:ext cx="104559" cy="32485"/>
            </a:xfrm>
            <a:custGeom>
              <a:avLst/>
              <a:gdLst>
                <a:gd name="T0" fmla="*/ 44 w 87"/>
                <a:gd name="T1" fmla="*/ 9 h 27"/>
                <a:gd name="T2" fmla="*/ 0 w 87"/>
                <a:gd name="T3" fmla="*/ 0 h 27"/>
                <a:gd name="T4" fmla="*/ 0 w 87"/>
                <a:gd name="T5" fmla="*/ 13 h 27"/>
                <a:gd name="T6" fmla="*/ 0 w 87"/>
                <a:gd name="T7" fmla="*/ 13 h 27"/>
                <a:gd name="T8" fmla="*/ 44 w 87"/>
                <a:gd name="T9" fmla="*/ 27 h 27"/>
                <a:gd name="T10" fmla="*/ 87 w 87"/>
                <a:gd name="T11" fmla="*/ 13 h 27"/>
                <a:gd name="T12" fmla="*/ 87 w 87"/>
                <a:gd name="T13" fmla="*/ 13 h 27"/>
                <a:gd name="T14" fmla="*/ 87 w 87"/>
                <a:gd name="T15" fmla="*/ 0 h 27"/>
                <a:gd name="T16" fmla="*/ 44 w 87"/>
                <a:gd name="T17" fmla="*/ 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" h="27">
                  <a:moveTo>
                    <a:pt x="44" y="9"/>
                  </a:moveTo>
                  <a:cubicBezTo>
                    <a:pt x="43" y="9"/>
                    <a:pt x="9" y="9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26"/>
                    <a:pt x="43" y="27"/>
                    <a:pt x="44" y="27"/>
                  </a:cubicBezTo>
                  <a:cubicBezTo>
                    <a:pt x="44" y="27"/>
                    <a:pt x="87" y="26"/>
                    <a:pt x="87" y="13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78" y="9"/>
                    <a:pt x="44" y="9"/>
                    <a:pt x="44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25" name="Freeform 287"/>
            <p:cNvSpPr>
              <a:spLocks noEditPoints="1"/>
            </p:cNvSpPr>
            <p:nvPr/>
          </p:nvSpPr>
          <p:spPr bwMode="auto">
            <a:xfrm>
              <a:off x="2569593" y="2929627"/>
              <a:ext cx="104559" cy="49235"/>
            </a:xfrm>
            <a:custGeom>
              <a:avLst/>
              <a:gdLst>
                <a:gd name="T0" fmla="*/ 87 w 87"/>
                <a:gd name="T1" fmla="*/ 14 h 41"/>
                <a:gd name="T2" fmla="*/ 44 w 87"/>
                <a:gd name="T3" fmla="*/ 0 h 41"/>
                <a:gd name="T4" fmla="*/ 0 w 87"/>
                <a:gd name="T5" fmla="*/ 14 h 41"/>
                <a:gd name="T6" fmla="*/ 0 w 87"/>
                <a:gd name="T7" fmla="*/ 27 h 41"/>
                <a:gd name="T8" fmla="*/ 0 w 87"/>
                <a:gd name="T9" fmla="*/ 27 h 41"/>
                <a:gd name="T10" fmla="*/ 44 w 87"/>
                <a:gd name="T11" fmla="*/ 41 h 41"/>
                <a:gd name="T12" fmla="*/ 87 w 87"/>
                <a:gd name="T13" fmla="*/ 27 h 41"/>
                <a:gd name="T14" fmla="*/ 87 w 87"/>
                <a:gd name="T15" fmla="*/ 27 h 41"/>
                <a:gd name="T16" fmla="*/ 87 w 87"/>
                <a:gd name="T17" fmla="*/ 14 h 41"/>
                <a:gd name="T18" fmla="*/ 44 w 87"/>
                <a:gd name="T19" fmla="*/ 7 h 41"/>
                <a:gd name="T20" fmla="*/ 81 w 87"/>
                <a:gd name="T21" fmla="*/ 13 h 41"/>
                <a:gd name="T22" fmla="*/ 44 w 87"/>
                <a:gd name="T23" fmla="*/ 21 h 41"/>
                <a:gd name="T24" fmla="*/ 6 w 87"/>
                <a:gd name="T25" fmla="*/ 14 h 41"/>
                <a:gd name="T26" fmla="*/ 44 w 87"/>
                <a:gd name="T27" fmla="*/ 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7" h="41">
                  <a:moveTo>
                    <a:pt x="87" y="14"/>
                  </a:moveTo>
                  <a:cubicBezTo>
                    <a:pt x="87" y="1"/>
                    <a:pt x="48" y="0"/>
                    <a:pt x="44" y="0"/>
                  </a:cubicBezTo>
                  <a:cubicBezTo>
                    <a:pt x="39" y="0"/>
                    <a:pt x="0" y="1"/>
                    <a:pt x="0" y="14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41"/>
                    <a:pt x="43" y="41"/>
                    <a:pt x="44" y="41"/>
                  </a:cubicBezTo>
                  <a:cubicBezTo>
                    <a:pt x="44" y="41"/>
                    <a:pt x="87" y="41"/>
                    <a:pt x="87" y="27"/>
                  </a:cubicBezTo>
                  <a:cubicBezTo>
                    <a:pt x="87" y="27"/>
                    <a:pt x="87" y="27"/>
                    <a:pt x="87" y="27"/>
                  </a:cubicBezTo>
                  <a:lnTo>
                    <a:pt x="87" y="14"/>
                  </a:lnTo>
                  <a:close/>
                  <a:moveTo>
                    <a:pt x="44" y="7"/>
                  </a:moveTo>
                  <a:cubicBezTo>
                    <a:pt x="66" y="7"/>
                    <a:pt x="80" y="11"/>
                    <a:pt x="81" y="13"/>
                  </a:cubicBezTo>
                  <a:cubicBezTo>
                    <a:pt x="80" y="16"/>
                    <a:pt x="66" y="21"/>
                    <a:pt x="44" y="21"/>
                  </a:cubicBezTo>
                  <a:cubicBezTo>
                    <a:pt x="21" y="21"/>
                    <a:pt x="8" y="16"/>
                    <a:pt x="6" y="14"/>
                  </a:cubicBezTo>
                  <a:cubicBezTo>
                    <a:pt x="8" y="11"/>
                    <a:pt x="21" y="7"/>
                    <a:pt x="44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26" name="Freeform 288"/>
            <p:cNvSpPr>
              <a:spLocks/>
            </p:cNvSpPr>
            <p:nvPr/>
          </p:nvSpPr>
          <p:spPr bwMode="auto">
            <a:xfrm>
              <a:off x="2569593" y="2984953"/>
              <a:ext cx="104559" cy="31469"/>
            </a:xfrm>
            <a:custGeom>
              <a:avLst/>
              <a:gdLst>
                <a:gd name="T0" fmla="*/ 44 w 87"/>
                <a:gd name="T1" fmla="*/ 9 h 26"/>
                <a:gd name="T2" fmla="*/ 0 w 87"/>
                <a:gd name="T3" fmla="*/ 0 h 26"/>
                <a:gd name="T4" fmla="*/ 0 w 87"/>
                <a:gd name="T5" fmla="*/ 12 h 26"/>
                <a:gd name="T6" fmla="*/ 0 w 87"/>
                <a:gd name="T7" fmla="*/ 13 h 26"/>
                <a:gd name="T8" fmla="*/ 44 w 87"/>
                <a:gd name="T9" fmla="*/ 26 h 26"/>
                <a:gd name="T10" fmla="*/ 87 w 87"/>
                <a:gd name="T11" fmla="*/ 13 h 26"/>
                <a:gd name="T12" fmla="*/ 87 w 87"/>
                <a:gd name="T13" fmla="*/ 13 h 26"/>
                <a:gd name="T14" fmla="*/ 87 w 87"/>
                <a:gd name="T15" fmla="*/ 0 h 26"/>
                <a:gd name="T16" fmla="*/ 44 w 87"/>
                <a:gd name="T17" fmla="*/ 9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" h="26">
                  <a:moveTo>
                    <a:pt x="44" y="9"/>
                  </a:moveTo>
                  <a:cubicBezTo>
                    <a:pt x="43" y="9"/>
                    <a:pt x="10" y="9"/>
                    <a:pt x="0" y="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26"/>
                    <a:pt x="43" y="26"/>
                    <a:pt x="44" y="26"/>
                  </a:cubicBezTo>
                  <a:cubicBezTo>
                    <a:pt x="44" y="26"/>
                    <a:pt x="87" y="26"/>
                    <a:pt x="87" y="13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78" y="9"/>
                    <a:pt x="44" y="9"/>
                    <a:pt x="44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27" name="Freeform 289"/>
            <p:cNvSpPr>
              <a:spLocks/>
            </p:cNvSpPr>
            <p:nvPr/>
          </p:nvSpPr>
          <p:spPr bwMode="auto">
            <a:xfrm>
              <a:off x="2569593" y="3020989"/>
              <a:ext cx="104559" cy="30961"/>
            </a:xfrm>
            <a:custGeom>
              <a:avLst/>
              <a:gdLst>
                <a:gd name="T0" fmla="*/ 44 w 87"/>
                <a:gd name="T1" fmla="*/ 9 h 26"/>
                <a:gd name="T2" fmla="*/ 0 w 87"/>
                <a:gd name="T3" fmla="*/ 0 h 26"/>
                <a:gd name="T4" fmla="*/ 0 w 87"/>
                <a:gd name="T5" fmla="*/ 13 h 26"/>
                <a:gd name="T6" fmla="*/ 0 w 87"/>
                <a:gd name="T7" fmla="*/ 13 h 26"/>
                <a:gd name="T8" fmla="*/ 44 w 87"/>
                <a:gd name="T9" fmla="*/ 26 h 26"/>
                <a:gd name="T10" fmla="*/ 87 w 87"/>
                <a:gd name="T11" fmla="*/ 13 h 26"/>
                <a:gd name="T12" fmla="*/ 87 w 87"/>
                <a:gd name="T13" fmla="*/ 13 h 26"/>
                <a:gd name="T14" fmla="*/ 87 w 87"/>
                <a:gd name="T15" fmla="*/ 0 h 26"/>
                <a:gd name="T16" fmla="*/ 44 w 87"/>
                <a:gd name="T17" fmla="*/ 9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" h="26">
                  <a:moveTo>
                    <a:pt x="44" y="9"/>
                  </a:moveTo>
                  <a:cubicBezTo>
                    <a:pt x="43" y="9"/>
                    <a:pt x="10" y="9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26"/>
                    <a:pt x="43" y="26"/>
                    <a:pt x="44" y="26"/>
                  </a:cubicBezTo>
                  <a:cubicBezTo>
                    <a:pt x="44" y="26"/>
                    <a:pt x="87" y="26"/>
                    <a:pt x="87" y="13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78" y="9"/>
                    <a:pt x="44" y="9"/>
                    <a:pt x="44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28" name="Freeform 290"/>
            <p:cNvSpPr>
              <a:spLocks/>
            </p:cNvSpPr>
            <p:nvPr/>
          </p:nvSpPr>
          <p:spPr bwMode="auto">
            <a:xfrm>
              <a:off x="2569593" y="3057027"/>
              <a:ext cx="104559" cy="32485"/>
            </a:xfrm>
            <a:custGeom>
              <a:avLst/>
              <a:gdLst>
                <a:gd name="T0" fmla="*/ 44 w 87"/>
                <a:gd name="T1" fmla="*/ 9 h 27"/>
                <a:gd name="T2" fmla="*/ 0 w 87"/>
                <a:gd name="T3" fmla="*/ 0 h 27"/>
                <a:gd name="T4" fmla="*/ 0 w 87"/>
                <a:gd name="T5" fmla="*/ 13 h 27"/>
                <a:gd name="T6" fmla="*/ 0 w 87"/>
                <a:gd name="T7" fmla="*/ 13 h 27"/>
                <a:gd name="T8" fmla="*/ 44 w 87"/>
                <a:gd name="T9" fmla="*/ 27 h 27"/>
                <a:gd name="T10" fmla="*/ 87 w 87"/>
                <a:gd name="T11" fmla="*/ 13 h 27"/>
                <a:gd name="T12" fmla="*/ 87 w 87"/>
                <a:gd name="T13" fmla="*/ 13 h 27"/>
                <a:gd name="T14" fmla="*/ 87 w 87"/>
                <a:gd name="T15" fmla="*/ 0 h 27"/>
                <a:gd name="T16" fmla="*/ 44 w 87"/>
                <a:gd name="T17" fmla="*/ 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" h="27">
                  <a:moveTo>
                    <a:pt x="44" y="9"/>
                  </a:moveTo>
                  <a:cubicBezTo>
                    <a:pt x="43" y="9"/>
                    <a:pt x="10" y="9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26"/>
                    <a:pt x="43" y="27"/>
                    <a:pt x="44" y="27"/>
                  </a:cubicBezTo>
                  <a:cubicBezTo>
                    <a:pt x="44" y="27"/>
                    <a:pt x="87" y="26"/>
                    <a:pt x="87" y="13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78" y="9"/>
                    <a:pt x="44" y="9"/>
                    <a:pt x="44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29" name="Freeform 291"/>
            <p:cNvSpPr>
              <a:spLocks noEditPoints="1"/>
            </p:cNvSpPr>
            <p:nvPr/>
          </p:nvSpPr>
          <p:spPr bwMode="auto">
            <a:xfrm>
              <a:off x="2424429" y="2965665"/>
              <a:ext cx="105575" cy="49235"/>
            </a:xfrm>
            <a:custGeom>
              <a:avLst/>
              <a:gdLst>
                <a:gd name="T0" fmla="*/ 88 w 88"/>
                <a:gd name="T1" fmla="*/ 14 h 41"/>
                <a:gd name="T2" fmla="*/ 44 w 88"/>
                <a:gd name="T3" fmla="*/ 0 h 41"/>
                <a:gd name="T4" fmla="*/ 0 w 88"/>
                <a:gd name="T5" fmla="*/ 14 h 41"/>
                <a:gd name="T6" fmla="*/ 0 w 88"/>
                <a:gd name="T7" fmla="*/ 28 h 41"/>
                <a:gd name="T8" fmla="*/ 0 w 88"/>
                <a:gd name="T9" fmla="*/ 28 h 41"/>
                <a:gd name="T10" fmla="*/ 44 w 88"/>
                <a:gd name="T11" fmla="*/ 41 h 41"/>
                <a:gd name="T12" fmla="*/ 88 w 88"/>
                <a:gd name="T13" fmla="*/ 28 h 41"/>
                <a:gd name="T14" fmla="*/ 88 w 88"/>
                <a:gd name="T15" fmla="*/ 28 h 41"/>
                <a:gd name="T16" fmla="*/ 88 w 88"/>
                <a:gd name="T17" fmla="*/ 14 h 41"/>
                <a:gd name="T18" fmla="*/ 44 w 88"/>
                <a:gd name="T19" fmla="*/ 7 h 41"/>
                <a:gd name="T20" fmla="*/ 81 w 88"/>
                <a:gd name="T21" fmla="*/ 14 h 41"/>
                <a:gd name="T22" fmla="*/ 44 w 88"/>
                <a:gd name="T23" fmla="*/ 21 h 41"/>
                <a:gd name="T24" fmla="*/ 6 w 88"/>
                <a:gd name="T25" fmla="*/ 14 h 41"/>
                <a:gd name="T26" fmla="*/ 44 w 88"/>
                <a:gd name="T27" fmla="*/ 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8" h="41">
                  <a:moveTo>
                    <a:pt x="88" y="14"/>
                  </a:moveTo>
                  <a:cubicBezTo>
                    <a:pt x="88" y="1"/>
                    <a:pt x="48" y="0"/>
                    <a:pt x="44" y="0"/>
                  </a:cubicBezTo>
                  <a:cubicBezTo>
                    <a:pt x="39" y="0"/>
                    <a:pt x="0" y="1"/>
                    <a:pt x="0" y="1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41"/>
                    <a:pt x="43" y="41"/>
                    <a:pt x="44" y="41"/>
                  </a:cubicBezTo>
                  <a:cubicBezTo>
                    <a:pt x="44" y="41"/>
                    <a:pt x="88" y="41"/>
                    <a:pt x="88" y="28"/>
                  </a:cubicBezTo>
                  <a:cubicBezTo>
                    <a:pt x="88" y="28"/>
                    <a:pt x="88" y="28"/>
                    <a:pt x="88" y="28"/>
                  </a:cubicBezTo>
                  <a:lnTo>
                    <a:pt x="88" y="14"/>
                  </a:lnTo>
                  <a:close/>
                  <a:moveTo>
                    <a:pt x="44" y="7"/>
                  </a:moveTo>
                  <a:cubicBezTo>
                    <a:pt x="66" y="7"/>
                    <a:pt x="80" y="12"/>
                    <a:pt x="81" y="14"/>
                  </a:cubicBezTo>
                  <a:cubicBezTo>
                    <a:pt x="80" y="16"/>
                    <a:pt x="66" y="21"/>
                    <a:pt x="44" y="21"/>
                  </a:cubicBezTo>
                  <a:cubicBezTo>
                    <a:pt x="21" y="21"/>
                    <a:pt x="8" y="16"/>
                    <a:pt x="6" y="14"/>
                  </a:cubicBezTo>
                  <a:cubicBezTo>
                    <a:pt x="8" y="12"/>
                    <a:pt x="21" y="7"/>
                    <a:pt x="44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30" name="Freeform 292"/>
            <p:cNvSpPr>
              <a:spLocks/>
            </p:cNvSpPr>
            <p:nvPr/>
          </p:nvSpPr>
          <p:spPr bwMode="auto">
            <a:xfrm>
              <a:off x="2424429" y="3020989"/>
              <a:ext cx="105575" cy="30961"/>
            </a:xfrm>
            <a:custGeom>
              <a:avLst/>
              <a:gdLst>
                <a:gd name="T0" fmla="*/ 44 w 88"/>
                <a:gd name="T1" fmla="*/ 9 h 26"/>
                <a:gd name="T2" fmla="*/ 0 w 88"/>
                <a:gd name="T3" fmla="*/ 0 h 26"/>
                <a:gd name="T4" fmla="*/ 0 w 88"/>
                <a:gd name="T5" fmla="*/ 13 h 26"/>
                <a:gd name="T6" fmla="*/ 0 w 88"/>
                <a:gd name="T7" fmla="*/ 13 h 26"/>
                <a:gd name="T8" fmla="*/ 44 w 88"/>
                <a:gd name="T9" fmla="*/ 26 h 26"/>
                <a:gd name="T10" fmla="*/ 88 w 88"/>
                <a:gd name="T11" fmla="*/ 13 h 26"/>
                <a:gd name="T12" fmla="*/ 88 w 88"/>
                <a:gd name="T13" fmla="*/ 13 h 26"/>
                <a:gd name="T14" fmla="*/ 88 w 88"/>
                <a:gd name="T15" fmla="*/ 0 h 26"/>
                <a:gd name="T16" fmla="*/ 44 w 88"/>
                <a:gd name="T17" fmla="*/ 9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8" h="26">
                  <a:moveTo>
                    <a:pt x="44" y="9"/>
                  </a:moveTo>
                  <a:cubicBezTo>
                    <a:pt x="43" y="9"/>
                    <a:pt x="10" y="9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26"/>
                    <a:pt x="43" y="26"/>
                    <a:pt x="44" y="26"/>
                  </a:cubicBezTo>
                  <a:cubicBezTo>
                    <a:pt x="44" y="26"/>
                    <a:pt x="88" y="26"/>
                    <a:pt x="88" y="13"/>
                  </a:cubicBezTo>
                  <a:cubicBezTo>
                    <a:pt x="88" y="13"/>
                    <a:pt x="88" y="13"/>
                    <a:pt x="88" y="13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78" y="9"/>
                    <a:pt x="44" y="9"/>
                    <a:pt x="44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31" name="Freeform 293"/>
            <p:cNvSpPr>
              <a:spLocks/>
            </p:cNvSpPr>
            <p:nvPr/>
          </p:nvSpPr>
          <p:spPr bwMode="auto">
            <a:xfrm>
              <a:off x="2424429" y="3057027"/>
              <a:ext cx="105575" cy="32485"/>
            </a:xfrm>
            <a:custGeom>
              <a:avLst/>
              <a:gdLst>
                <a:gd name="T0" fmla="*/ 44 w 88"/>
                <a:gd name="T1" fmla="*/ 9 h 27"/>
                <a:gd name="T2" fmla="*/ 0 w 88"/>
                <a:gd name="T3" fmla="*/ 0 h 27"/>
                <a:gd name="T4" fmla="*/ 0 w 88"/>
                <a:gd name="T5" fmla="*/ 13 h 27"/>
                <a:gd name="T6" fmla="*/ 0 w 88"/>
                <a:gd name="T7" fmla="*/ 13 h 27"/>
                <a:gd name="T8" fmla="*/ 44 w 88"/>
                <a:gd name="T9" fmla="*/ 27 h 27"/>
                <a:gd name="T10" fmla="*/ 88 w 88"/>
                <a:gd name="T11" fmla="*/ 13 h 27"/>
                <a:gd name="T12" fmla="*/ 88 w 88"/>
                <a:gd name="T13" fmla="*/ 13 h 27"/>
                <a:gd name="T14" fmla="*/ 88 w 88"/>
                <a:gd name="T15" fmla="*/ 0 h 27"/>
                <a:gd name="T16" fmla="*/ 44 w 88"/>
                <a:gd name="T17" fmla="*/ 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8" h="27">
                  <a:moveTo>
                    <a:pt x="44" y="9"/>
                  </a:moveTo>
                  <a:cubicBezTo>
                    <a:pt x="43" y="9"/>
                    <a:pt x="10" y="9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26"/>
                    <a:pt x="43" y="27"/>
                    <a:pt x="44" y="27"/>
                  </a:cubicBezTo>
                  <a:cubicBezTo>
                    <a:pt x="44" y="27"/>
                    <a:pt x="88" y="26"/>
                    <a:pt x="88" y="13"/>
                  </a:cubicBezTo>
                  <a:cubicBezTo>
                    <a:pt x="88" y="13"/>
                    <a:pt x="88" y="13"/>
                    <a:pt x="88" y="13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78" y="9"/>
                    <a:pt x="44" y="9"/>
                    <a:pt x="44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xmlns="" id="{D3057813-95C6-476C-BA6C-25190A813C5D}"/>
              </a:ext>
            </a:extLst>
          </p:cNvPr>
          <p:cNvGrpSpPr/>
          <p:nvPr/>
        </p:nvGrpSpPr>
        <p:grpSpPr>
          <a:xfrm>
            <a:off x="3441975" y="5145676"/>
            <a:ext cx="431941" cy="375601"/>
            <a:chOff x="3594375" y="5145676"/>
            <a:chExt cx="431941" cy="375601"/>
          </a:xfrm>
        </p:grpSpPr>
        <p:sp>
          <p:nvSpPr>
            <p:cNvPr id="36332" name="Freeform 294"/>
            <p:cNvSpPr>
              <a:spLocks/>
            </p:cNvSpPr>
            <p:nvPr/>
          </p:nvSpPr>
          <p:spPr bwMode="auto">
            <a:xfrm>
              <a:off x="3745123" y="5264446"/>
              <a:ext cx="128414" cy="196937"/>
            </a:xfrm>
            <a:custGeom>
              <a:avLst/>
              <a:gdLst>
                <a:gd name="T0" fmla="*/ 101 w 107"/>
                <a:gd name="T1" fmla="*/ 89 h 164"/>
                <a:gd name="T2" fmla="*/ 82 w 107"/>
                <a:gd name="T3" fmla="*/ 78 h 164"/>
                <a:gd name="T4" fmla="*/ 69 w 107"/>
                <a:gd name="T5" fmla="*/ 73 h 164"/>
                <a:gd name="T6" fmla="*/ 56 w 107"/>
                <a:gd name="T7" fmla="*/ 70 h 164"/>
                <a:gd name="T8" fmla="*/ 44 w 107"/>
                <a:gd name="T9" fmla="*/ 68 h 164"/>
                <a:gd name="T10" fmla="*/ 35 w 107"/>
                <a:gd name="T11" fmla="*/ 64 h 164"/>
                <a:gd name="T12" fmla="*/ 29 w 107"/>
                <a:gd name="T13" fmla="*/ 60 h 164"/>
                <a:gd name="T14" fmla="*/ 27 w 107"/>
                <a:gd name="T15" fmla="*/ 53 h 164"/>
                <a:gd name="T16" fmla="*/ 29 w 107"/>
                <a:gd name="T17" fmla="*/ 48 h 164"/>
                <a:gd name="T18" fmla="*/ 34 w 107"/>
                <a:gd name="T19" fmla="*/ 42 h 164"/>
                <a:gd name="T20" fmla="*/ 43 w 107"/>
                <a:gd name="T21" fmla="*/ 40 h 164"/>
                <a:gd name="T22" fmla="*/ 54 w 107"/>
                <a:gd name="T23" fmla="*/ 39 h 164"/>
                <a:gd name="T24" fmla="*/ 71 w 107"/>
                <a:gd name="T25" fmla="*/ 41 h 164"/>
                <a:gd name="T26" fmla="*/ 84 w 107"/>
                <a:gd name="T27" fmla="*/ 45 h 164"/>
                <a:gd name="T28" fmla="*/ 87 w 107"/>
                <a:gd name="T29" fmla="*/ 46 h 164"/>
                <a:gd name="T30" fmla="*/ 89 w 107"/>
                <a:gd name="T31" fmla="*/ 47 h 164"/>
                <a:gd name="T32" fmla="*/ 96 w 107"/>
                <a:gd name="T33" fmla="*/ 45 h 164"/>
                <a:gd name="T34" fmla="*/ 99 w 107"/>
                <a:gd name="T35" fmla="*/ 39 h 164"/>
                <a:gd name="T36" fmla="*/ 96 w 107"/>
                <a:gd name="T37" fmla="*/ 32 h 164"/>
                <a:gd name="T38" fmla="*/ 87 w 107"/>
                <a:gd name="T39" fmla="*/ 26 h 164"/>
                <a:gd name="T40" fmla="*/ 73 w 107"/>
                <a:gd name="T41" fmla="*/ 21 h 164"/>
                <a:gd name="T42" fmla="*/ 58 w 107"/>
                <a:gd name="T43" fmla="*/ 20 h 164"/>
                <a:gd name="T44" fmla="*/ 58 w 107"/>
                <a:gd name="T45" fmla="*/ 8 h 164"/>
                <a:gd name="T46" fmla="*/ 51 w 107"/>
                <a:gd name="T47" fmla="*/ 0 h 164"/>
                <a:gd name="T48" fmla="*/ 43 w 107"/>
                <a:gd name="T49" fmla="*/ 8 h 164"/>
                <a:gd name="T50" fmla="*/ 43 w 107"/>
                <a:gd name="T51" fmla="*/ 20 h 164"/>
                <a:gd name="T52" fmla="*/ 31 w 107"/>
                <a:gd name="T53" fmla="*/ 22 h 164"/>
                <a:gd name="T54" fmla="*/ 15 w 107"/>
                <a:gd name="T55" fmla="*/ 28 h 164"/>
                <a:gd name="T56" fmla="*/ 4 w 107"/>
                <a:gd name="T57" fmla="*/ 40 h 164"/>
                <a:gd name="T58" fmla="*/ 0 w 107"/>
                <a:gd name="T59" fmla="*/ 54 h 164"/>
                <a:gd name="T60" fmla="*/ 2 w 107"/>
                <a:gd name="T61" fmla="*/ 67 h 164"/>
                <a:gd name="T62" fmla="*/ 9 w 107"/>
                <a:gd name="T63" fmla="*/ 76 h 164"/>
                <a:gd name="T64" fmla="*/ 20 w 107"/>
                <a:gd name="T65" fmla="*/ 83 h 164"/>
                <a:gd name="T66" fmla="*/ 33 w 107"/>
                <a:gd name="T67" fmla="*/ 87 h 164"/>
                <a:gd name="T68" fmla="*/ 49 w 107"/>
                <a:gd name="T69" fmla="*/ 91 h 164"/>
                <a:gd name="T70" fmla="*/ 65 w 107"/>
                <a:gd name="T71" fmla="*/ 95 h 164"/>
                <a:gd name="T72" fmla="*/ 76 w 107"/>
                <a:gd name="T73" fmla="*/ 101 h 164"/>
                <a:gd name="T74" fmla="*/ 80 w 107"/>
                <a:gd name="T75" fmla="*/ 109 h 164"/>
                <a:gd name="T76" fmla="*/ 78 w 107"/>
                <a:gd name="T77" fmla="*/ 118 h 164"/>
                <a:gd name="T78" fmla="*/ 72 w 107"/>
                <a:gd name="T79" fmla="*/ 124 h 164"/>
                <a:gd name="T80" fmla="*/ 63 w 107"/>
                <a:gd name="T81" fmla="*/ 127 h 164"/>
                <a:gd name="T82" fmla="*/ 54 w 107"/>
                <a:gd name="T83" fmla="*/ 128 h 164"/>
                <a:gd name="T84" fmla="*/ 39 w 107"/>
                <a:gd name="T85" fmla="*/ 127 h 164"/>
                <a:gd name="T86" fmla="*/ 26 w 107"/>
                <a:gd name="T87" fmla="*/ 123 h 164"/>
                <a:gd name="T88" fmla="*/ 16 w 107"/>
                <a:gd name="T89" fmla="*/ 119 h 164"/>
                <a:gd name="T90" fmla="*/ 9 w 107"/>
                <a:gd name="T91" fmla="*/ 117 h 164"/>
                <a:gd name="T92" fmla="*/ 2 w 107"/>
                <a:gd name="T93" fmla="*/ 120 h 164"/>
                <a:gd name="T94" fmla="*/ 0 w 107"/>
                <a:gd name="T95" fmla="*/ 125 h 164"/>
                <a:gd name="T96" fmla="*/ 4 w 107"/>
                <a:gd name="T97" fmla="*/ 134 h 164"/>
                <a:gd name="T98" fmla="*/ 15 w 107"/>
                <a:gd name="T99" fmla="*/ 141 h 164"/>
                <a:gd name="T100" fmla="*/ 32 w 107"/>
                <a:gd name="T101" fmla="*/ 146 h 164"/>
                <a:gd name="T102" fmla="*/ 43 w 107"/>
                <a:gd name="T103" fmla="*/ 147 h 164"/>
                <a:gd name="T104" fmla="*/ 43 w 107"/>
                <a:gd name="T105" fmla="*/ 156 h 164"/>
                <a:gd name="T106" fmla="*/ 51 w 107"/>
                <a:gd name="T107" fmla="*/ 164 h 164"/>
                <a:gd name="T108" fmla="*/ 58 w 107"/>
                <a:gd name="T109" fmla="*/ 156 h 164"/>
                <a:gd name="T110" fmla="*/ 58 w 107"/>
                <a:gd name="T111" fmla="*/ 147 h 164"/>
                <a:gd name="T112" fmla="*/ 73 w 107"/>
                <a:gd name="T113" fmla="*/ 145 h 164"/>
                <a:gd name="T114" fmla="*/ 91 w 107"/>
                <a:gd name="T115" fmla="*/ 137 h 164"/>
                <a:gd name="T116" fmla="*/ 103 w 107"/>
                <a:gd name="T117" fmla="*/ 124 h 164"/>
                <a:gd name="T118" fmla="*/ 107 w 107"/>
                <a:gd name="T119" fmla="*/ 107 h 164"/>
                <a:gd name="T120" fmla="*/ 101 w 107"/>
                <a:gd name="T121" fmla="*/ 89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07" h="164">
                  <a:moveTo>
                    <a:pt x="101" y="89"/>
                  </a:moveTo>
                  <a:cubicBezTo>
                    <a:pt x="96" y="84"/>
                    <a:pt x="90" y="80"/>
                    <a:pt x="82" y="78"/>
                  </a:cubicBezTo>
                  <a:cubicBezTo>
                    <a:pt x="77" y="76"/>
                    <a:pt x="73" y="75"/>
                    <a:pt x="69" y="73"/>
                  </a:cubicBezTo>
                  <a:cubicBezTo>
                    <a:pt x="64" y="72"/>
                    <a:pt x="60" y="71"/>
                    <a:pt x="56" y="70"/>
                  </a:cubicBezTo>
                  <a:cubicBezTo>
                    <a:pt x="52" y="69"/>
                    <a:pt x="48" y="68"/>
                    <a:pt x="44" y="68"/>
                  </a:cubicBezTo>
                  <a:cubicBezTo>
                    <a:pt x="41" y="67"/>
                    <a:pt x="38" y="66"/>
                    <a:pt x="35" y="64"/>
                  </a:cubicBezTo>
                  <a:cubicBezTo>
                    <a:pt x="33" y="63"/>
                    <a:pt x="31" y="61"/>
                    <a:pt x="29" y="60"/>
                  </a:cubicBezTo>
                  <a:cubicBezTo>
                    <a:pt x="28" y="58"/>
                    <a:pt x="27" y="56"/>
                    <a:pt x="27" y="53"/>
                  </a:cubicBezTo>
                  <a:cubicBezTo>
                    <a:pt x="27" y="52"/>
                    <a:pt x="28" y="50"/>
                    <a:pt x="29" y="48"/>
                  </a:cubicBezTo>
                  <a:cubicBezTo>
                    <a:pt x="30" y="45"/>
                    <a:pt x="32" y="44"/>
                    <a:pt x="34" y="42"/>
                  </a:cubicBezTo>
                  <a:cubicBezTo>
                    <a:pt x="37" y="41"/>
                    <a:pt x="39" y="40"/>
                    <a:pt x="43" y="40"/>
                  </a:cubicBezTo>
                  <a:cubicBezTo>
                    <a:pt x="46" y="39"/>
                    <a:pt x="50" y="39"/>
                    <a:pt x="54" y="39"/>
                  </a:cubicBezTo>
                  <a:cubicBezTo>
                    <a:pt x="61" y="39"/>
                    <a:pt x="67" y="40"/>
                    <a:pt x="71" y="41"/>
                  </a:cubicBezTo>
                  <a:cubicBezTo>
                    <a:pt x="76" y="42"/>
                    <a:pt x="80" y="43"/>
                    <a:pt x="84" y="45"/>
                  </a:cubicBezTo>
                  <a:cubicBezTo>
                    <a:pt x="85" y="46"/>
                    <a:pt x="86" y="46"/>
                    <a:pt x="87" y="46"/>
                  </a:cubicBezTo>
                  <a:cubicBezTo>
                    <a:pt x="88" y="47"/>
                    <a:pt x="88" y="47"/>
                    <a:pt x="89" y="47"/>
                  </a:cubicBezTo>
                  <a:cubicBezTo>
                    <a:pt x="92" y="47"/>
                    <a:pt x="94" y="46"/>
                    <a:pt x="96" y="45"/>
                  </a:cubicBezTo>
                  <a:cubicBezTo>
                    <a:pt x="98" y="43"/>
                    <a:pt x="99" y="42"/>
                    <a:pt x="99" y="39"/>
                  </a:cubicBezTo>
                  <a:cubicBezTo>
                    <a:pt x="99" y="37"/>
                    <a:pt x="98" y="35"/>
                    <a:pt x="96" y="32"/>
                  </a:cubicBezTo>
                  <a:cubicBezTo>
                    <a:pt x="94" y="30"/>
                    <a:pt x="91" y="28"/>
                    <a:pt x="87" y="26"/>
                  </a:cubicBezTo>
                  <a:cubicBezTo>
                    <a:pt x="83" y="24"/>
                    <a:pt x="79" y="22"/>
                    <a:pt x="73" y="21"/>
                  </a:cubicBezTo>
                  <a:cubicBezTo>
                    <a:pt x="69" y="20"/>
                    <a:pt x="64" y="20"/>
                    <a:pt x="58" y="20"/>
                  </a:cubicBezTo>
                  <a:cubicBezTo>
                    <a:pt x="58" y="8"/>
                    <a:pt x="58" y="8"/>
                    <a:pt x="58" y="8"/>
                  </a:cubicBezTo>
                  <a:cubicBezTo>
                    <a:pt x="58" y="4"/>
                    <a:pt x="55" y="0"/>
                    <a:pt x="51" y="0"/>
                  </a:cubicBezTo>
                  <a:cubicBezTo>
                    <a:pt x="46" y="0"/>
                    <a:pt x="43" y="4"/>
                    <a:pt x="43" y="8"/>
                  </a:cubicBezTo>
                  <a:cubicBezTo>
                    <a:pt x="43" y="20"/>
                    <a:pt x="43" y="20"/>
                    <a:pt x="43" y="20"/>
                  </a:cubicBezTo>
                  <a:cubicBezTo>
                    <a:pt x="39" y="20"/>
                    <a:pt x="35" y="21"/>
                    <a:pt x="31" y="22"/>
                  </a:cubicBezTo>
                  <a:cubicBezTo>
                    <a:pt x="25" y="23"/>
                    <a:pt x="19" y="25"/>
                    <a:pt x="15" y="28"/>
                  </a:cubicBezTo>
                  <a:cubicBezTo>
                    <a:pt x="10" y="31"/>
                    <a:pt x="6" y="35"/>
                    <a:pt x="4" y="40"/>
                  </a:cubicBezTo>
                  <a:cubicBezTo>
                    <a:pt x="1" y="44"/>
                    <a:pt x="0" y="49"/>
                    <a:pt x="0" y="54"/>
                  </a:cubicBezTo>
                  <a:cubicBezTo>
                    <a:pt x="0" y="59"/>
                    <a:pt x="1" y="64"/>
                    <a:pt x="2" y="67"/>
                  </a:cubicBezTo>
                  <a:cubicBezTo>
                    <a:pt x="4" y="71"/>
                    <a:pt x="6" y="74"/>
                    <a:pt x="9" y="76"/>
                  </a:cubicBezTo>
                  <a:cubicBezTo>
                    <a:pt x="12" y="79"/>
                    <a:pt x="16" y="81"/>
                    <a:pt x="20" y="83"/>
                  </a:cubicBezTo>
                  <a:cubicBezTo>
                    <a:pt x="24" y="85"/>
                    <a:pt x="28" y="86"/>
                    <a:pt x="33" y="87"/>
                  </a:cubicBezTo>
                  <a:cubicBezTo>
                    <a:pt x="38" y="88"/>
                    <a:pt x="43" y="90"/>
                    <a:pt x="49" y="91"/>
                  </a:cubicBezTo>
                  <a:cubicBezTo>
                    <a:pt x="54" y="92"/>
                    <a:pt x="60" y="93"/>
                    <a:pt x="65" y="95"/>
                  </a:cubicBezTo>
                  <a:cubicBezTo>
                    <a:pt x="70" y="96"/>
                    <a:pt x="74" y="98"/>
                    <a:pt x="76" y="101"/>
                  </a:cubicBezTo>
                  <a:cubicBezTo>
                    <a:pt x="79" y="104"/>
                    <a:pt x="80" y="107"/>
                    <a:pt x="80" y="109"/>
                  </a:cubicBezTo>
                  <a:cubicBezTo>
                    <a:pt x="80" y="113"/>
                    <a:pt x="79" y="116"/>
                    <a:pt x="78" y="118"/>
                  </a:cubicBezTo>
                  <a:cubicBezTo>
                    <a:pt x="76" y="120"/>
                    <a:pt x="74" y="122"/>
                    <a:pt x="72" y="124"/>
                  </a:cubicBezTo>
                  <a:cubicBezTo>
                    <a:pt x="70" y="125"/>
                    <a:pt x="67" y="126"/>
                    <a:pt x="63" y="127"/>
                  </a:cubicBezTo>
                  <a:cubicBezTo>
                    <a:pt x="60" y="128"/>
                    <a:pt x="57" y="128"/>
                    <a:pt x="54" y="128"/>
                  </a:cubicBezTo>
                  <a:cubicBezTo>
                    <a:pt x="48" y="128"/>
                    <a:pt x="43" y="128"/>
                    <a:pt x="39" y="127"/>
                  </a:cubicBezTo>
                  <a:cubicBezTo>
                    <a:pt x="34" y="125"/>
                    <a:pt x="30" y="124"/>
                    <a:pt x="26" y="123"/>
                  </a:cubicBezTo>
                  <a:cubicBezTo>
                    <a:pt x="22" y="121"/>
                    <a:pt x="19" y="120"/>
                    <a:pt x="16" y="119"/>
                  </a:cubicBezTo>
                  <a:cubicBezTo>
                    <a:pt x="13" y="118"/>
                    <a:pt x="11" y="117"/>
                    <a:pt x="9" y="117"/>
                  </a:cubicBezTo>
                  <a:cubicBezTo>
                    <a:pt x="6" y="117"/>
                    <a:pt x="4" y="118"/>
                    <a:pt x="2" y="120"/>
                  </a:cubicBezTo>
                  <a:cubicBezTo>
                    <a:pt x="0" y="121"/>
                    <a:pt x="0" y="123"/>
                    <a:pt x="0" y="125"/>
                  </a:cubicBezTo>
                  <a:cubicBezTo>
                    <a:pt x="0" y="128"/>
                    <a:pt x="1" y="131"/>
                    <a:pt x="4" y="134"/>
                  </a:cubicBezTo>
                  <a:cubicBezTo>
                    <a:pt x="7" y="137"/>
                    <a:pt x="10" y="139"/>
                    <a:pt x="15" y="141"/>
                  </a:cubicBezTo>
                  <a:cubicBezTo>
                    <a:pt x="20" y="143"/>
                    <a:pt x="25" y="145"/>
                    <a:pt x="32" y="146"/>
                  </a:cubicBezTo>
                  <a:cubicBezTo>
                    <a:pt x="35" y="146"/>
                    <a:pt x="39" y="147"/>
                    <a:pt x="43" y="147"/>
                  </a:cubicBezTo>
                  <a:cubicBezTo>
                    <a:pt x="43" y="156"/>
                    <a:pt x="43" y="156"/>
                    <a:pt x="43" y="156"/>
                  </a:cubicBezTo>
                  <a:cubicBezTo>
                    <a:pt x="43" y="160"/>
                    <a:pt x="46" y="164"/>
                    <a:pt x="51" y="164"/>
                  </a:cubicBezTo>
                  <a:cubicBezTo>
                    <a:pt x="55" y="164"/>
                    <a:pt x="58" y="160"/>
                    <a:pt x="58" y="156"/>
                  </a:cubicBezTo>
                  <a:cubicBezTo>
                    <a:pt x="58" y="147"/>
                    <a:pt x="58" y="147"/>
                    <a:pt x="58" y="147"/>
                  </a:cubicBezTo>
                  <a:cubicBezTo>
                    <a:pt x="64" y="147"/>
                    <a:pt x="69" y="146"/>
                    <a:pt x="73" y="145"/>
                  </a:cubicBezTo>
                  <a:cubicBezTo>
                    <a:pt x="80" y="143"/>
                    <a:pt x="86" y="141"/>
                    <a:pt x="91" y="137"/>
                  </a:cubicBezTo>
                  <a:cubicBezTo>
                    <a:pt x="96" y="134"/>
                    <a:pt x="100" y="130"/>
                    <a:pt x="103" y="124"/>
                  </a:cubicBezTo>
                  <a:cubicBezTo>
                    <a:pt x="106" y="119"/>
                    <a:pt x="107" y="114"/>
                    <a:pt x="107" y="107"/>
                  </a:cubicBezTo>
                  <a:cubicBezTo>
                    <a:pt x="107" y="100"/>
                    <a:pt x="105" y="94"/>
                    <a:pt x="101" y="8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33" name="Freeform 295"/>
            <p:cNvSpPr>
              <a:spLocks noEditPoints="1"/>
            </p:cNvSpPr>
            <p:nvPr/>
          </p:nvSpPr>
          <p:spPr bwMode="auto">
            <a:xfrm>
              <a:off x="3594375" y="5145676"/>
              <a:ext cx="431941" cy="375601"/>
            </a:xfrm>
            <a:custGeom>
              <a:avLst/>
              <a:gdLst>
                <a:gd name="T0" fmla="*/ 353 w 360"/>
                <a:gd name="T1" fmla="*/ 168 h 313"/>
                <a:gd name="T2" fmla="*/ 302 w 360"/>
                <a:gd name="T3" fmla="*/ 117 h 313"/>
                <a:gd name="T4" fmla="*/ 302 w 360"/>
                <a:gd name="T5" fmla="*/ 27 h 313"/>
                <a:gd name="T6" fmla="*/ 285 w 360"/>
                <a:gd name="T7" fmla="*/ 9 h 313"/>
                <a:gd name="T8" fmla="*/ 256 w 360"/>
                <a:gd name="T9" fmla="*/ 9 h 313"/>
                <a:gd name="T10" fmla="*/ 239 w 360"/>
                <a:gd name="T11" fmla="*/ 27 h 313"/>
                <a:gd name="T12" fmla="*/ 239 w 360"/>
                <a:gd name="T13" fmla="*/ 53 h 313"/>
                <a:gd name="T14" fmla="*/ 192 w 360"/>
                <a:gd name="T15" fmla="*/ 7 h 313"/>
                <a:gd name="T16" fmla="*/ 168 w 360"/>
                <a:gd name="T17" fmla="*/ 7 h 313"/>
                <a:gd name="T18" fmla="*/ 6 w 360"/>
                <a:gd name="T19" fmla="*/ 168 h 313"/>
                <a:gd name="T20" fmla="*/ 6 w 360"/>
                <a:gd name="T21" fmla="*/ 193 h 313"/>
                <a:gd name="T22" fmla="*/ 31 w 360"/>
                <a:gd name="T23" fmla="*/ 193 h 313"/>
                <a:gd name="T24" fmla="*/ 57 w 360"/>
                <a:gd name="T25" fmla="*/ 167 h 313"/>
                <a:gd name="T26" fmla="*/ 57 w 360"/>
                <a:gd name="T27" fmla="*/ 265 h 313"/>
                <a:gd name="T28" fmla="*/ 105 w 360"/>
                <a:gd name="T29" fmla="*/ 313 h 313"/>
                <a:gd name="T30" fmla="*/ 254 w 360"/>
                <a:gd name="T31" fmla="*/ 313 h 313"/>
                <a:gd name="T32" fmla="*/ 302 w 360"/>
                <a:gd name="T33" fmla="*/ 265 h 313"/>
                <a:gd name="T34" fmla="*/ 302 w 360"/>
                <a:gd name="T35" fmla="*/ 166 h 313"/>
                <a:gd name="T36" fmla="*/ 329 w 360"/>
                <a:gd name="T37" fmla="*/ 193 h 313"/>
                <a:gd name="T38" fmla="*/ 341 w 360"/>
                <a:gd name="T39" fmla="*/ 198 h 313"/>
                <a:gd name="T40" fmla="*/ 353 w 360"/>
                <a:gd name="T41" fmla="*/ 193 h 313"/>
                <a:gd name="T42" fmla="*/ 353 w 360"/>
                <a:gd name="T43" fmla="*/ 168 h 313"/>
                <a:gd name="T44" fmla="*/ 276 w 360"/>
                <a:gd name="T45" fmla="*/ 265 h 313"/>
                <a:gd name="T46" fmla="*/ 254 w 360"/>
                <a:gd name="T47" fmla="*/ 286 h 313"/>
                <a:gd name="T48" fmla="*/ 105 w 360"/>
                <a:gd name="T49" fmla="*/ 286 h 313"/>
                <a:gd name="T50" fmla="*/ 83 w 360"/>
                <a:gd name="T51" fmla="*/ 265 h 313"/>
                <a:gd name="T52" fmla="*/ 83 w 360"/>
                <a:gd name="T53" fmla="*/ 141 h 313"/>
                <a:gd name="T54" fmla="*/ 180 w 360"/>
                <a:gd name="T55" fmla="*/ 44 h 313"/>
                <a:gd name="T56" fmla="*/ 276 w 360"/>
                <a:gd name="T57" fmla="*/ 140 h 313"/>
                <a:gd name="T58" fmla="*/ 276 w 360"/>
                <a:gd name="T59" fmla="*/ 265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60" h="313">
                  <a:moveTo>
                    <a:pt x="353" y="168"/>
                  </a:moveTo>
                  <a:cubicBezTo>
                    <a:pt x="302" y="117"/>
                    <a:pt x="302" y="117"/>
                    <a:pt x="302" y="117"/>
                  </a:cubicBezTo>
                  <a:cubicBezTo>
                    <a:pt x="302" y="27"/>
                    <a:pt x="302" y="27"/>
                    <a:pt x="302" y="27"/>
                  </a:cubicBezTo>
                  <a:cubicBezTo>
                    <a:pt x="302" y="17"/>
                    <a:pt x="294" y="9"/>
                    <a:pt x="285" y="9"/>
                  </a:cubicBezTo>
                  <a:cubicBezTo>
                    <a:pt x="256" y="9"/>
                    <a:pt x="256" y="9"/>
                    <a:pt x="256" y="9"/>
                  </a:cubicBezTo>
                  <a:cubicBezTo>
                    <a:pt x="247" y="9"/>
                    <a:pt x="239" y="17"/>
                    <a:pt x="239" y="27"/>
                  </a:cubicBezTo>
                  <a:cubicBezTo>
                    <a:pt x="239" y="53"/>
                    <a:pt x="239" y="53"/>
                    <a:pt x="239" y="53"/>
                  </a:cubicBezTo>
                  <a:cubicBezTo>
                    <a:pt x="192" y="7"/>
                    <a:pt x="192" y="7"/>
                    <a:pt x="192" y="7"/>
                  </a:cubicBezTo>
                  <a:cubicBezTo>
                    <a:pt x="185" y="0"/>
                    <a:pt x="174" y="0"/>
                    <a:pt x="168" y="7"/>
                  </a:cubicBezTo>
                  <a:cubicBezTo>
                    <a:pt x="6" y="168"/>
                    <a:pt x="6" y="168"/>
                    <a:pt x="6" y="168"/>
                  </a:cubicBezTo>
                  <a:cubicBezTo>
                    <a:pt x="0" y="175"/>
                    <a:pt x="0" y="186"/>
                    <a:pt x="6" y="193"/>
                  </a:cubicBezTo>
                  <a:cubicBezTo>
                    <a:pt x="13" y="200"/>
                    <a:pt x="24" y="200"/>
                    <a:pt x="31" y="193"/>
                  </a:cubicBezTo>
                  <a:cubicBezTo>
                    <a:pt x="57" y="167"/>
                    <a:pt x="57" y="167"/>
                    <a:pt x="57" y="167"/>
                  </a:cubicBezTo>
                  <a:cubicBezTo>
                    <a:pt x="57" y="265"/>
                    <a:pt x="57" y="265"/>
                    <a:pt x="57" y="265"/>
                  </a:cubicBezTo>
                  <a:cubicBezTo>
                    <a:pt x="57" y="291"/>
                    <a:pt x="78" y="313"/>
                    <a:pt x="105" y="313"/>
                  </a:cubicBezTo>
                  <a:cubicBezTo>
                    <a:pt x="254" y="313"/>
                    <a:pt x="254" y="313"/>
                    <a:pt x="254" y="313"/>
                  </a:cubicBezTo>
                  <a:cubicBezTo>
                    <a:pt x="281" y="313"/>
                    <a:pt x="302" y="291"/>
                    <a:pt x="302" y="265"/>
                  </a:cubicBezTo>
                  <a:cubicBezTo>
                    <a:pt x="302" y="166"/>
                    <a:pt x="302" y="166"/>
                    <a:pt x="302" y="166"/>
                  </a:cubicBezTo>
                  <a:cubicBezTo>
                    <a:pt x="329" y="193"/>
                    <a:pt x="329" y="193"/>
                    <a:pt x="329" y="193"/>
                  </a:cubicBezTo>
                  <a:cubicBezTo>
                    <a:pt x="332" y="196"/>
                    <a:pt x="337" y="198"/>
                    <a:pt x="341" y="198"/>
                  </a:cubicBezTo>
                  <a:cubicBezTo>
                    <a:pt x="346" y="198"/>
                    <a:pt x="350" y="196"/>
                    <a:pt x="353" y="193"/>
                  </a:cubicBezTo>
                  <a:cubicBezTo>
                    <a:pt x="360" y="186"/>
                    <a:pt x="360" y="175"/>
                    <a:pt x="353" y="168"/>
                  </a:cubicBezTo>
                  <a:close/>
                  <a:moveTo>
                    <a:pt x="276" y="265"/>
                  </a:moveTo>
                  <a:cubicBezTo>
                    <a:pt x="276" y="277"/>
                    <a:pt x="266" y="286"/>
                    <a:pt x="254" y="286"/>
                  </a:cubicBezTo>
                  <a:cubicBezTo>
                    <a:pt x="105" y="286"/>
                    <a:pt x="105" y="286"/>
                    <a:pt x="105" y="286"/>
                  </a:cubicBezTo>
                  <a:cubicBezTo>
                    <a:pt x="93" y="286"/>
                    <a:pt x="83" y="277"/>
                    <a:pt x="83" y="265"/>
                  </a:cubicBezTo>
                  <a:cubicBezTo>
                    <a:pt x="83" y="141"/>
                    <a:pt x="83" y="141"/>
                    <a:pt x="83" y="141"/>
                  </a:cubicBezTo>
                  <a:cubicBezTo>
                    <a:pt x="180" y="44"/>
                    <a:pt x="180" y="44"/>
                    <a:pt x="180" y="44"/>
                  </a:cubicBezTo>
                  <a:cubicBezTo>
                    <a:pt x="276" y="140"/>
                    <a:pt x="276" y="140"/>
                    <a:pt x="276" y="140"/>
                  </a:cubicBezTo>
                  <a:lnTo>
                    <a:pt x="276" y="26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xmlns="" id="{1FFA4BA9-3972-4E4C-836B-8A6647CFBD6F}"/>
              </a:ext>
            </a:extLst>
          </p:cNvPr>
          <p:cNvGrpSpPr/>
          <p:nvPr/>
        </p:nvGrpSpPr>
        <p:grpSpPr>
          <a:xfrm>
            <a:off x="2318725" y="5388293"/>
            <a:ext cx="452244" cy="352761"/>
            <a:chOff x="2471125" y="5388293"/>
            <a:chExt cx="452244" cy="352761"/>
          </a:xfrm>
        </p:grpSpPr>
        <p:sp>
          <p:nvSpPr>
            <p:cNvPr id="36334" name="Freeform 296"/>
            <p:cNvSpPr>
              <a:spLocks/>
            </p:cNvSpPr>
            <p:nvPr/>
          </p:nvSpPr>
          <p:spPr bwMode="auto">
            <a:xfrm>
              <a:off x="2471125" y="5388293"/>
              <a:ext cx="452244" cy="242111"/>
            </a:xfrm>
            <a:custGeom>
              <a:avLst/>
              <a:gdLst>
                <a:gd name="T0" fmla="*/ 102 w 377"/>
                <a:gd name="T1" fmla="*/ 154 h 202"/>
                <a:gd name="T2" fmla="*/ 113 w 377"/>
                <a:gd name="T3" fmla="*/ 119 h 202"/>
                <a:gd name="T4" fmla="*/ 123 w 377"/>
                <a:gd name="T5" fmla="*/ 111 h 202"/>
                <a:gd name="T6" fmla="*/ 133 w 377"/>
                <a:gd name="T7" fmla="*/ 120 h 202"/>
                <a:gd name="T8" fmla="*/ 140 w 377"/>
                <a:gd name="T9" fmla="*/ 157 h 202"/>
                <a:gd name="T10" fmla="*/ 160 w 377"/>
                <a:gd name="T11" fmla="*/ 88 h 202"/>
                <a:gd name="T12" fmla="*/ 170 w 377"/>
                <a:gd name="T13" fmla="*/ 80 h 202"/>
                <a:gd name="T14" fmla="*/ 181 w 377"/>
                <a:gd name="T15" fmla="*/ 89 h 202"/>
                <a:gd name="T16" fmla="*/ 208 w 377"/>
                <a:gd name="T17" fmla="*/ 202 h 202"/>
                <a:gd name="T18" fmla="*/ 226 w 377"/>
                <a:gd name="T19" fmla="*/ 137 h 202"/>
                <a:gd name="T20" fmla="*/ 236 w 377"/>
                <a:gd name="T21" fmla="*/ 129 h 202"/>
                <a:gd name="T22" fmla="*/ 236 w 377"/>
                <a:gd name="T23" fmla="*/ 129 h 202"/>
                <a:gd name="T24" fmla="*/ 246 w 377"/>
                <a:gd name="T25" fmla="*/ 135 h 202"/>
                <a:gd name="T26" fmla="*/ 259 w 377"/>
                <a:gd name="T27" fmla="*/ 156 h 202"/>
                <a:gd name="T28" fmla="*/ 348 w 377"/>
                <a:gd name="T29" fmla="*/ 156 h 202"/>
                <a:gd name="T30" fmla="*/ 297 w 377"/>
                <a:gd name="T31" fmla="*/ 16 h 202"/>
                <a:gd name="T32" fmla="*/ 188 w 377"/>
                <a:gd name="T33" fmla="*/ 71 h 202"/>
                <a:gd name="T34" fmla="*/ 79 w 377"/>
                <a:gd name="T35" fmla="*/ 16 h 202"/>
                <a:gd name="T36" fmla="*/ 27 w 377"/>
                <a:gd name="T37" fmla="*/ 154 h 202"/>
                <a:gd name="T38" fmla="*/ 102 w 377"/>
                <a:gd name="T39" fmla="*/ 154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77" h="202">
                  <a:moveTo>
                    <a:pt x="102" y="154"/>
                  </a:moveTo>
                  <a:cubicBezTo>
                    <a:pt x="113" y="119"/>
                    <a:pt x="113" y="119"/>
                    <a:pt x="113" y="119"/>
                  </a:cubicBezTo>
                  <a:cubicBezTo>
                    <a:pt x="114" y="114"/>
                    <a:pt x="118" y="111"/>
                    <a:pt x="123" y="111"/>
                  </a:cubicBezTo>
                  <a:cubicBezTo>
                    <a:pt x="128" y="112"/>
                    <a:pt x="132" y="115"/>
                    <a:pt x="133" y="120"/>
                  </a:cubicBezTo>
                  <a:cubicBezTo>
                    <a:pt x="140" y="157"/>
                    <a:pt x="140" y="157"/>
                    <a:pt x="140" y="157"/>
                  </a:cubicBezTo>
                  <a:cubicBezTo>
                    <a:pt x="160" y="88"/>
                    <a:pt x="160" y="88"/>
                    <a:pt x="160" y="88"/>
                  </a:cubicBezTo>
                  <a:cubicBezTo>
                    <a:pt x="162" y="83"/>
                    <a:pt x="166" y="80"/>
                    <a:pt x="170" y="80"/>
                  </a:cubicBezTo>
                  <a:cubicBezTo>
                    <a:pt x="176" y="81"/>
                    <a:pt x="180" y="84"/>
                    <a:pt x="181" y="89"/>
                  </a:cubicBezTo>
                  <a:cubicBezTo>
                    <a:pt x="208" y="202"/>
                    <a:pt x="208" y="202"/>
                    <a:pt x="208" y="202"/>
                  </a:cubicBezTo>
                  <a:cubicBezTo>
                    <a:pt x="226" y="137"/>
                    <a:pt x="226" y="137"/>
                    <a:pt x="226" y="137"/>
                  </a:cubicBezTo>
                  <a:cubicBezTo>
                    <a:pt x="227" y="133"/>
                    <a:pt x="231" y="129"/>
                    <a:pt x="236" y="129"/>
                  </a:cubicBezTo>
                  <a:cubicBezTo>
                    <a:pt x="236" y="129"/>
                    <a:pt x="236" y="129"/>
                    <a:pt x="236" y="129"/>
                  </a:cubicBezTo>
                  <a:cubicBezTo>
                    <a:pt x="241" y="129"/>
                    <a:pt x="244" y="131"/>
                    <a:pt x="246" y="135"/>
                  </a:cubicBezTo>
                  <a:cubicBezTo>
                    <a:pt x="259" y="156"/>
                    <a:pt x="259" y="156"/>
                    <a:pt x="259" y="156"/>
                  </a:cubicBezTo>
                  <a:cubicBezTo>
                    <a:pt x="348" y="156"/>
                    <a:pt x="348" y="156"/>
                    <a:pt x="348" y="156"/>
                  </a:cubicBezTo>
                  <a:cubicBezTo>
                    <a:pt x="377" y="101"/>
                    <a:pt x="363" y="30"/>
                    <a:pt x="297" y="16"/>
                  </a:cubicBezTo>
                  <a:cubicBezTo>
                    <a:pt x="223" y="0"/>
                    <a:pt x="190" y="69"/>
                    <a:pt x="188" y="71"/>
                  </a:cubicBezTo>
                  <a:cubicBezTo>
                    <a:pt x="187" y="69"/>
                    <a:pt x="154" y="0"/>
                    <a:pt x="79" y="16"/>
                  </a:cubicBezTo>
                  <a:cubicBezTo>
                    <a:pt x="15" y="29"/>
                    <a:pt x="0" y="99"/>
                    <a:pt x="27" y="154"/>
                  </a:cubicBezTo>
                  <a:lnTo>
                    <a:pt x="102" y="15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35" name="Freeform 297"/>
            <p:cNvSpPr>
              <a:spLocks/>
            </p:cNvSpPr>
            <p:nvPr/>
          </p:nvSpPr>
          <p:spPr bwMode="auto">
            <a:xfrm>
              <a:off x="2520358" y="5547670"/>
              <a:ext cx="351745" cy="193384"/>
            </a:xfrm>
            <a:custGeom>
              <a:avLst/>
              <a:gdLst>
                <a:gd name="T0" fmla="*/ 212 w 293"/>
                <a:gd name="T1" fmla="*/ 44 h 161"/>
                <a:gd name="T2" fmla="*/ 202 w 293"/>
                <a:gd name="T3" fmla="*/ 38 h 161"/>
                <a:gd name="T4" fmla="*/ 199 w 293"/>
                <a:gd name="T5" fmla="*/ 34 h 161"/>
                <a:gd name="T6" fmla="*/ 176 w 293"/>
                <a:gd name="T7" fmla="*/ 116 h 161"/>
                <a:gd name="T8" fmla="*/ 166 w 293"/>
                <a:gd name="T9" fmla="*/ 124 h 161"/>
                <a:gd name="T10" fmla="*/ 166 w 293"/>
                <a:gd name="T11" fmla="*/ 124 h 161"/>
                <a:gd name="T12" fmla="*/ 156 w 293"/>
                <a:gd name="T13" fmla="*/ 116 h 161"/>
                <a:gd name="T14" fmla="*/ 128 w 293"/>
                <a:gd name="T15" fmla="*/ 0 h 161"/>
                <a:gd name="T16" fmla="*/ 107 w 293"/>
                <a:gd name="T17" fmla="*/ 73 h 161"/>
                <a:gd name="T18" fmla="*/ 97 w 293"/>
                <a:gd name="T19" fmla="*/ 80 h 161"/>
                <a:gd name="T20" fmla="*/ 86 w 293"/>
                <a:gd name="T21" fmla="*/ 72 h 161"/>
                <a:gd name="T22" fmla="*/ 79 w 293"/>
                <a:gd name="T23" fmla="*/ 33 h 161"/>
                <a:gd name="T24" fmla="*/ 79 w 293"/>
                <a:gd name="T25" fmla="*/ 34 h 161"/>
                <a:gd name="T26" fmla="*/ 69 w 293"/>
                <a:gd name="T27" fmla="*/ 42 h 161"/>
                <a:gd name="T28" fmla="*/ 0 w 293"/>
                <a:gd name="T29" fmla="*/ 42 h 161"/>
                <a:gd name="T30" fmla="*/ 10 w 293"/>
                <a:gd name="T31" fmla="*/ 53 h 161"/>
                <a:gd name="T32" fmla="*/ 147 w 293"/>
                <a:gd name="T33" fmla="*/ 161 h 161"/>
                <a:gd name="T34" fmla="*/ 285 w 293"/>
                <a:gd name="T35" fmla="*/ 53 h 161"/>
                <a:gd name="T36" fmla="*/ 293 w 293"/>
                <a:gd name="T37" fmla="*/ 44 h 161"/>
                <a:gd name="T38" fmla="*/ 212 w 293"/>
                <a:gd name="T39" fmla="*/ 44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93" h="161">
                  <a:moveTo>
                    <a:pt x="212" y="44"/>
                  </a:moveTo>
                  <a:cubicBezTo>
                    <a:pt x="207" y="44"/>
                    <a:pt x="204" y="42"/>
                    <a:pt x="202" y="38"/>
                  </a:cubicBezTo>
                  <a:cubicBezTo>
                    <a:pt x="199" y="34"/>
                    <a:pt x="199" y="34"/>
                    <a:pt x="199" y="34"/>
                  </a:cubicBezTo>
                  <a:cubicBezTo>
                    <a:pt x="176" y="116"/>
                    <a:pt x="176" y="116"/>
                    <a:pt x="176" y="116"/>
                  </a:cubicBezTo>
                  <a:cubicBezTo>
                    <a:pt x="176" y="120"/>
                    <a:pt x="171" y="124"/>
                    <a:pt x="166" y="124"/>
                  </a:cubicBezTo>
                  <a:cubicBezTo>
                    <a:pt x="166" y="124"/>
                    <a:pt x="166" y="124"/>
                    <a:pt x="166" y="124"/>
                  </a:cubicBezTo>
                  <a:cubicBezTo>
                    <a:pt x="161" y="124"/>
                    <a:pt x="157" y="121"/>
                    <a:pt x="156" y="116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07" y="73"/>
                    <a:pt x="107" y="73"/>
                    <a:pt x="107" y="73"/>
                  </a:cubicBezTo>
                  <a:cubicBezTo>
                    <a:pt x="105" y="77"/>
                    <a:pt x="101" y="80"/>
                    <a:pt x="97" y="80"/>
                  </a:cubicBezTo>
                  <a:cubicBezTo>
                    <a:pt x="91" y="80"/>
                    <a:pt x="87" y="76"/>
                    <a:pt x="86" y="72"/>
                  </a:cubicBezTo>
                  <a:cubicBezTo>
                    <a:pt x="79" y="33"/>
                    <a:pt x="79" y="33"/>
                    <a:pt x="79" y="33"/>
                  </a:cubicBezTo>
                  <a:cubicBezTo>
                    <a:pt x="79" y="34"/>
                    <a:pt x="79" y="34"/>
                    <a:pt x="79" y="34"/>
                  </a:cubicBezTo>
                  <a:cubicBezTo>
                    <a:pt x="78" y="38"/>
                    <a:pt x="74" y="42"/>
                    <a:pt x="69" y="4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" y="46"/>
                    <a:pt x="6" y="50"/>
                    <a:pt x="10" y="53"/>
                  </a:cubicBezTo>
                  <a:cubicBezTo>
                    <a:pt x="66" y="108"/>
                    <a:pt x="147" y="161"/>
                    <a:pt x="147" y="161"/>
                  </a:cubicBezTo>
                  <a:cubicBezTo>
                    <a:pt x="147" y="161"/>
                    <a:pt x="229" y="108"/>
                    <a:pt x="285" y="53"/>
                  </a:cubicBezTo>
                  <a:cubicBezTo>
                    <a:pt x="288" y="50"/>
                    <a:pt x="290" y="47"/>
                    <a:pt x="293" y="44"/>
                  </a:cubicBezTo>
                  <a:lnTo>
                    <a:pt x="212" y="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" name="Text Placeholder 10">
            <a:extLst>
              <a:ext uri="{FF2B5EF4-FFF2-40B4-BE49-F238E27FC236}">
                <a16:creationId xmlns:a16="http://schemas.microsoft.com/office/drawing/2014/main" xmlns="" id="{3F16164B-CEE7-41AA-AB3C-C877DADAE9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29634" y="187789"/>
            <a:ext cx="9936506" cy="571500"/>
          </a:xfrm>
        </p:spPr>
        <p:txBody>
          <a:bodyPr/>
          <a:lstStyle/>
          <a:p>
            <a:r>
              <a:rPr lang="ru-RU" sz="3200" dirty="0" smtClean="0"/>
              <a:t>Административные данные в </a:t>
            </a:r>
            <a:r>
              <a:rPr lang="en-US" sz="3200" dirty="0" smtClean="0"/>
              <a:t>BI </a:t>
            </a:r>
            <a:r>
              <a:rPr lang="ru-RU" sz="3200" dirty="0" smtClean="0"/>
              <a:t>платформе ЦАП</a:t>
            </a:r>
            <a:endParaRPr lang="en-US" sz="3200" dirty="0"/>
          </a:p>
        </p:txBody>
      </p:sp>
      <p:grpSp>
        <p:nvGrpSpPr>
          <p:cNvPr id="184" name="Group 1">
            <a:extLst>
              <a:ext uri="{FF2B5EF4-FFF2-40B4-BE49-F238E27FC236}">
                <a16:creationId xmlns:a16="http://schemas.microsoft.com/office/drawing/2014/main" xmlns="" id="{865AC7E4-C1ED-454F-B2C2-F1FDC512BEF9}"/>
              </a:ext>
            </a:extLst>
          </p:cNvPr>
          <p:cNvGrpSpPr/>
          <p:nvPr/>
        </p:nvGrpSpPr>
        <p:grpSpPr>
          <a:xfrm>
            <a:off x="175917" y="137565"/>
            <a:ext cx="933776" cy="878772"/>
            <a:chOff x="5496559" y="1760636"/>
            <a:chExt cx="1198881" cy="1198881"/>
          </a:xfrm>
        </p:grpSpPr>
        <p:sp>
          <p:nvSpPr>
            <p:cNvPr id="185" name="Rectangle 61">
              <a:extLst>
                <a:ext uri="{FF2B5EF4-FFF2-40B4-BE49-F238E27FC236}">
                  <a16:creationId xmlns:a16="http://schemas.microsoft.com/office/drawing/2014/main" xmlns="" id="{A4408F6C-790D-45CC-93CF-9FF03A02C1C9}"/>
                </a:ext>
              </a:extLst>
            </p:cNvPr>
            <p:cNvSpPr/>
            <p:nvPr/>
          </p:nvSpPr>
          <p:spPr>
            <a:xfrm>
              <a:off x="5496559" y="1760636"/>
              <a:ext cx="1198881" cy="1198881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6" name="Rectangle 62">
              <a:extLst>
                <a:ext uri="{FF2B5EF4-FFF2-40B4-BE49-F238E27FC236}">
                  <a16:creationId xmlns:a16="http://schemas.microsoft.com/office/drawing/2014/main" xmlns="" id="{75330248-DBA8-4ABE-BE89-AA069B533947}"/>
                </a:ext>
              </a:extLst>
            </p:cNvPr>
            <p:cNvSpPr/>
            <p:nvPr/>
          </p:nvSpPr>
          <p:spPr>
            <a:xfrm>
              <a:off x="5566687" y="1829904"/>
              <a:ext cx="1085033" cy="104972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4400" b="1" dirty="0" smtClean="0">
                  <a:solidFill>
                    <a:schemeClr val="bg1"/>
                  </a:solidFill>
                  <a:latin typeface="Trebuchet MS" panose="020B0603020202020204" pitchFamily="34" charset="0"/>
                </a:rPr>
                <a:t>07</a:t>
              </a:r>
              <a:endParaRPr lang="en-US" sz="4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87" name="TextBox 186">
            <a:extLst>
              <a:ext uri="{FF2B5EF4-FFF2-40B4-BE49-F238E27FC236}">
                <a16:creationId xmlns:a16="http://schemas.microsoft.com/office/drawing/2014/main" xmlns="" id="{143B8F4E-84D4-46C8-9F56-5D9D1248D5B2}"/>
              </a:ext>
            </a:extLst>
          </p:cNvPr>
          <p:cNvSpPr txBox="1"/>
          <p:nvPr/>
        </p:nvSpPr>
        <p:spPr>
          <a:xfrm>
            <a:off x="87615" y="2164086"/>
            <a:ext cx="1846513" cy="811367"/>
          </a:xfrm>
          <a:prstGeom prst="rect">
            <a:avLst/>
          </a:prstGeom>
          <a:noFill/>
        </p:spPr>
        <p:txBody>
          <a:bodyPr wrap="none" lIns="72000" tIns="36000" rIns="72000" bIns="36000" rtlCol="0" anchor="b">
            <a:spAutoFit/>
          </a:bodyPr>
          <a:lstStyle/>
          <a:p>
            <a:pPr algn="r"/>
            <a:r>
              <a:rPr lang="ru-RU" sz="24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Ключевых</a:t>
            </a:r>
          </a:p>
          <a:p>
            <a:r>
              <a:rPr lang="ru-RU" sz="24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направлений</a:t>
            </a:r>
            <a:endParaRPr lang="id-ID" sz="2400" b="1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188" name="TextBox 187">
            <a:extLst>
              <a:ext uri="{FF2B5EF4-FFF2-40B4-BE49-F238E27FC236}">
                <a16:creationId xmlns:a16="http://schemas.microsoft.com/office/drawing/2014/main" xmlns="" id="{C50C8810-0269-4221-A16A-81F9EA577BBD}"/>
              </a:ext>
            </a:extLst>
          </p:cNvPr>
          <p:cNvSpPr txBox="1"/>
          <p:nvPr/>
        </p:nvSpPr>
        <p:spPr>
          <a:xfrm>
            <a:off x="1377808" y="1411429"/>
            <a:ext cx="587835" cy="996033"/>
          </a:xfrm>
          <a:prstGeom prst="rect">
            <a:avLst/>
          </a:prstGeom>
          <a:noFill/>
        </p:spPr>
        <p:txBody>
          <a:bodyPr wrap="square" lIns="72000" tIns="36000" rIns="72000" bIns="36000" rtlCol="0" anchor="b">
            <a:spAutoFit/>
          </a:bodyPr>
          <a:lstStyle/>
          <a:p>
            <a:pPr algn="ctr"/>
            <a:r>
              <a:rPr lang="ru-RU" sz="6000" b="1" dirty="0" smtClean="0">
                <a:solidFill>
                  <a:schemeClr val="accent1">
                    <a:lumMod val="75000"/>
                  </a:schemeClr>
                </a:solidFill>
              </a:rPr>
              <a:t>8</a:t>
            </a:r>
            <a:endParaRPr lang="id-ID" sz="60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89" name="TextBox 188">
            <a:extLst>
              <a:ext uri="{FF2B5EF4-FFF2-40B4-BE49-F238E27FC236}">
                <a16:creationId xmlns:a16="http://schemas.microsoft.com/office/drawing/2014/main" xmlns="" id="{1063F798-58DB-4A81-BEB9-F380F45294B5}"/>
              </a:ext>
            </a:extLst>
          </p:cNvPr>
          <p:cNvSpPr txBox="1"/>
          <p:nvPr/>
        </p:nvSpPr>
        <p:spPr>
          <a:xfrm>
            <a:off x="4681010" y="6308134"/>
            <a:ext cx="1762837" cy="442035"/>
          </a:xfrm>
          <a:prstGeom prst="rect">
            <a:avLst/>
          </a:prstGeom>
          <a:noFill/>
        </p:spPr>
        <p:txBody>
          <a:bodyPr wrap="none" lIns="72000" tIns="36000" rIns="72000" bIns="36000" rtlCol="0" anchor="b">
            <a:spAutoFit/>
          </a:bodyPr>
          <a:lstStyle/>
          <a:p>
            <a:r>
              <a:rPr lang="ru-RU" sz="2400" b="1" dirty="0">
                <a:solidFill>
                  <a:srgbClr val="C00000"/>
                </a:solidFill>
                <a:latin typeface="+mj-lt"/>
              </a:rPr>
              <a:t>Показателей</a:t>
            </a:r>
            <a:endParaRPr lang="id-ID" sz="2400" b="1" dirty="0">
              <a:solidFill>
                <a:srgbClr val="C00000"/>
              </a:solidFill>
              <a:latin typeface="+mj-lt"/>
            </a:endParaRPr>
          </a:p>
        </p:txBody>
      </p:sp>
      <p:sp>
        <p:nvSpPr>
          <p:cNvPr id="190" name="TextBox 189">
            <a:extLst>
              <a:ext uri="{FF2B5EF4-FFF2-40B4-BE49-F238E27FC236}">
                <a16:creationId xmlns:a16="http://schemas.microsoft.com/office/drawing/2014/main" xmlns="" id="{067B680B-2F2E-46AD-800B-1919D281DFE6}"/>
              </a:ext>
            </a:extLst>
          </p:cNvPr>
          <p:cNvSpPr txBox="1"/>
          <p:nvPr/>
        </p:nvSpPr>
        <p:spPr>
          <a:xfrm>
            <a:off x="4670212" y="5479194"/>
            <a:ext cx="924466" cy="996033"/>
          </a:xfrm>
          <a:prstGeom prst="rect">
            <a:avLst/>
          </a:prstGeom>
          <a:noFill/>
        </p:spPr>
        <p:txBody>
          <a:bodyPr wrap="none" lIns="72000" tIns="36000" rIns="72000" bIns="36000" rtlCol="0" anchor="b">
            <a:spAutoFit/>
          </a:bodyPr>
          <a:lstStyle/>
          <a:p>
            <a:pPr algn="ctr"/>
            <a:r>
              <a:rPr lang="ru-RU" sz="6000" b="1" dirty="0" smtClean="0">
                <a:solidFill>
                  <a:srgbClr val="C00000"/>
                </a:solidFill>
              </a:rPr>
              <a:t>45</a:t>
            </a:r>
            <a:endParaRPr lang="id-ID" sz="6000" b="1" dirty="0">
              <a:solidFill>
                <a:srgbClr val="C00000"/>
              </a:solidFill>
            </a:endParaRPr>
          </a:p>
        </p:txBody>
      </p:sp>
      <p:pic>
        <p:nvPicPr>
          <p:cNvPr id="206" name="Picture 29" descr="A close up of a logo&#10;&#10;Description generated with very high confidence">
            <a:extLst>
              <a:ext uri="{FF2B5EF4-FFF2-40B4-BE49-F238E27FC236}">
                <a16:creationId xmlns:a16="http://schemas.microsoft.com/office/drawing/2014/main" xmlns="" id="{01A38E0E-FCB7-48F1-86BB-9E0A874C10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9600207" y="958308"/>
            <a:ext cx="611747" cy="641958"/>
          </a:xfrm>
          <a:prstGeom prst="rect">
            <a:avLst/>
          </a:prstGeom>
        </p:spPr>
      </p:pic>
      <p:pic>
        <p:nvPicPr>
          <p:cNvPr id="207" name="Picture 2" descr="https://www.grozny-inform.ru/LoadedImages/2015/12/01/Biznes-perepis_._logotip._rosstat_w1200_h800.png">
            <a:extLst>
              <a:ext uri="{FF2B5EF4-FFF2-40B4-BE49-F238E27FC236}">
                <a16:creationId xmlns:a16="http://schemas.microsoft.com/office/drawing/2014/main" xmlns="" id="{FF7579B6-7AEB-4727-967C-721F200234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0413949" y="954614"/>
            <a:ext cx="561037" cy="657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8" name="Рисунок 207">
            <a:extLst>
              <a:ext uri="{FF2B5EF4-FFF2-40B4-BE49-F238E27FC236}">
                <a16:creationId xmlns:a16="http://schemas.microsoft.com/office/drawing/2014/main" xmlns="" id="{4A22D447-A0EB-4222-984B-5A26F9BF7AA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1160656" y="1010747"/>
            <a:ext cx="610263" cy="622419"/>
          </a:xfrm>
          <a:prstGeom prst="rect">
            <a:avLst/>
          </a:prstGeom>
        </p:spPr>
      </p:pic>
      <p:cxnSp>
        <p:nvCxnSpPr>
          <p:cNvPr id="284" name="Straight Connector 18">
            <a:extLst>
              <a:ext uri="{FF2B5EF4-FFF2-40B4-BE49-F238E27FC236}">
                <a16:creationId xmlns:a16="http://schemas.microsoft.com/office/drawing/2014/main" xmlns="" id="{E2ED4524-CBAF-4A7E-B0C8-4ECAA2CA05BF}"/>
              </a:ext>
            </a:extLst>
          </p:cNvPr>
          <p:cNvCxnSpPr>
            <a:cxnSpLocks/>
          </p:cNvCxnSpPr>
          <p:nvPr/>
        </p:nvCxnSpPr>
        <p:spPr>
          <a:xfrm flipV="1">
            <a:off x="9949173" y="3210397"/>
            <a:ext cx="0" cy="756315"/>
          </a:xfrm>
          <a:prstGeom prst="lin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5" name="Straight Connector 38">
            <a:extLst>
              <a:ext uri="{FF2B5EF4-FFF2-40B4-BE49-F238E27FC236}">
                <a16:creationId xmlns:a16="http://schemas.microsoft.com/office/drawing/2014/main" xmlns="" id="{5FB372F5-C462-4B07-B4B4-F84049AD01A1}"/>
              </a:ext>
            </a:extLst>
          </p:cNvPr>
          <p:cNvCxnSpPr>
            <a:cxnSpLocks/>
            <a:stCxn id="320" idx="0"/>
            <a:endCxn id="307" idx="2"/>
          </p:cNvCxnSpPr>
          <p:nvPr/>
        </p:nvCxnSpPr>
        <p:spPr>
          <a:xfrm flipV="1">
            <a:off x="8537623" y="2622256"/>
            <a:ext cx="0" cy="1610277"/>
          </a:xfrm>
          <a:prstGeom prst="lin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6" name="Straight Connector 18">
            <a:extLst>
              <a:ext uri="{FF2B5EF4-FFF2-40B4-BE49-F238E27FC236}">
                <a16:creationId xmlns:a16="http://schemas.microsoft.com/office/drawing/2014/main" xmlns="" id="{5E270D55-3C81-4052-92E7-98FD47E4ED9E}"/>
              </a:ext>
            </a:extLst>
          </p:cNvPr>
          <p:cNvCxnSpPr>
            <a:cxnSpLocks/>
          </p:cNvCxnSpPr>
          <p:nvPr/>
        </p:nvCxnSpPr>
        <p:spPr>
          <a:xfrm flipV="1">
            <a:off x="7126963" y="3210396"/>
            <a:ext cx="0" cy="1194991"/>
          </a:xfrm>
          <a:prstGeom prst="lin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7" name="Straight Connector 18">
            <a:extLst>
              <a:ext uri="{FF2B5EF4-FFF2-40B4-BE49-F238E27FC236}">
                <a16:creationId xmlns:a16="http://schemas.microsoft.com/office/drawing/2014/main" xmlns="" id="{E4200E6E-9335-46BE-BE45-C902689A5C7E}"/>
              </a:ext>
            </a:extLst>
          </p:cNvPr>
          <p:cNvCxnSpPr>
            <a:cxnSpLocks/>
          </p:cNvCxnSpPr>
          <p:nvPr/>
        </p:nvCxnSpPr>
        <p:spPr>
          <a:xfrm flipV="1">
            <a:off x="5697320" y="1747561"/>
            <a:ext cx="0" cy="1194991"/>
          </a:xfrm>
          <a:prstGeom prst="lin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8" name="Straight Connector 41">
            <a:extLst>
              <a:ext uri="{FF2B5EF4-FFF2-40B4-BE49-F238E27FC236}">
                <a16:creationId xmlns:a16="http://schemas.microsoft.com/office/drawing/2014/main" xmlns="" id="{556639DD-25EA-48AE-943B-62BDB1438B32}"/>
              </a:ext>
            </a:extLst>
          </p:cNvPr>
          <p:cNvCxnSpPr>
            <a:cxnSpLocks/>
          </p:cNvCxnSpPr>
          <p:nvPr/>
        </p:nvCxnSpPr>
        <p:spPr>
          <a:xfrm flipV="1">
            <a:off x="11363723" y="1746839"/>
            <a:ext cx="0" cy="1194991"/>
          </a:xfrm>
          <a:prstGeom prst="lin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9" name="Straight Connector 40">
            <a:extLst>
              <a:ext uri="{FF2B5EF4-FFF2-40B4-BE49-F238E27FC236}">
                <a16:creationId xmlns:a16="http://schemas.microsoft.com/office/drawing/2014/main" xmlns="" id="{5523942D-80AE-448F-9D8C-818C574DE1EF}"/>
              </a:ext>
            </a:extLst>
          </p:cNvPr>
          <p:cNvCxnSpPr>
            <a:cxnSpLocks/>
          </p:cNvCxnSpPr>
          <p:nvPr/>
        </p:nvCxnSpPr>
        <p:spPr>
          <a:xfrm flipV="1">
            <a:off x="9949173" y="1747561"/>
            <a:ext cx="0" cy="1194991"/>
          </a:xfrm>
          <a:prstGeom prst="lin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0" name="Straight Connector 7">
            <a:extLst>
              <a:ext uri="{FF2B5EF4-FFF2-40B4-BE49-F238E27FC236}">
                <a16:creationId xmlns:a16="http://schemas.microsoft.com/office/drawing/2014/main" xmlns="" id="{DE814CBB-53BB-4C6F-A18B-5F610B65CE55}"/>
              </a:ext>
            </a:extLst>
          </p:cNvPr>
          <p:cNvCxnSpPr>
            <a:cxnSpLocks/>
          </p:cNvCxnSpPr>
          <p:nvPr/>
        </p:nvCxnSpPr>
        <p:spPr>
          <a:xfrm>
            <a:off x="5697320" y="1754676"/>
            <a:ext cx="5666854" cy="0"/>
          </a:xfrm>
          <a:prstGeom prst="lin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1" name="Rectangle 12">
            <a:extLst>
              <a:ext uri="{FF2B5EF4-FFF2-40B4-BE49-F238E27FC236}">
                <a16:creationId xmlns:a16="http://schemas.microsoft.com/office/drawing/2014/main" xmlns="" id="{EE28FB33-9456-4598-A1ED-0BEA0FA3DD9A}"/>
              </a:ext>
            </a:extLst>
          </p:cNvPr>
          <p:cNvSpPr/>
          <p:nvPr/>
        </p:nvSpPr>
        <p:spPr>
          <a:xfrm>
            <a:off x="7893268" y="1051242"/>
            <a:ext cx="1282261" cy="522322"/>
          </a:xfrm>
          <a:prstGeom prst="rect">
            <a:avLst/>
          </a:prstGeom>
          <a:solidFill>
            <a:srgbClr val="C00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latin typeface="Trebuchet MS" panose="020B0603020202020204" pitchFamily="34" charset="0"/>
              </a:rPr>
              <a:t>Ключевые направления</a:t>
            </a:r>
            <a:endParaRPr lang="id-ID" sz="1100" b="1" dirty="0">
              <a:latin typeface="Trebuchet MS" panose="020B0603020202020204" pitchFamily="34" charset="0"/>
            </a:endParaRPr>
          </a:p>
        </p:txBody>
      </p:sp>
      <p:cxnSp>
        <p:nvCxnSpPr>
          <p:cNvPr id="292" name="Straight Connector 18">
            <a:extLst>
              <a:ext uri="{FF2B5EF4-FFF2-40B4-BE49-F238E27FC236}">
                <a16:creationId xmlns:a16="http://schemas.microsoft.com/office/drawing/2014/main" xmlns="" id="{659A2C03-274A-464E-AA4D-C85EC1057B2C}"/>
              </a:ext>
            </a:extLst>
          </p:cNvPr>
          <p:cNvCxnSpPr>
            <a:cxnSpLocks/>
          </p:cNvCxnSpPr>
          <p:nvPr/>
        </p:nvCxnSpPr>
        <p:spPr>
          <a:xfrm flipV="1">
            <a:off x="7120070" y="1747561"/>
            <a:ext cx="0" cy="1194991"/>
          </a:xfrm>
          <a:prstGeom prst="lin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3" name="Straight Connector 19">
            <a:extLst>
              <a:ext uri="{FF2B5EF4-FFF2-40B4-BE49-F238E27FC236}">
                <a16:creationId xmlns:a16="http://schemas.microsoft.com/office/drawing/2014/main" xmlns="" id="{6AFB7A9A-7E43-4FE6-9111-70CE8F2BBFD1}"/>
              </a:ext>
            </a:extLst>
          </p:cNvPr>
          <p:cNvCxnSpPr>
            <a:cxnSpLocks/>
            <a:stCxn id="306" idx="0"/>
            <a:endCxn id="291" idx="2"/>
          </p:cNvCxnSpPr>
          <p:nvPr/>
        </p:nvCxnSpPr>
        <p:spPr>
          <a:xfrm flipH="1" flipV="1">
            <a:off x="8534399" y="1573564"/>
            <a:ext cx="3224" cy="255541"/>
          </a:xfrm>
          <a:prstGeom prst="lin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4" name="Rectangle 30">
            <a:extLst>
              <a:ext uri="{FF2B5EF4-FFF2-40B4-BE49-F238E27FC236}">
                <a16:creationId xmlns:a16="http://schemas.microsoft.com/office/drawing/2014/main" xmlns="" id="{FF053112-5730-4E07-9136-8094E868B343}"/>
              </a:ext>
            </a:extLst>
          </p:cNvPr>
          <p:cNvSpPr/>
          <p:nvPr/>
        </p:nvSpPr>
        <p:spPr>
          <a:xfrm>
            <a:off x="6543846" y="2866590"/>
            <a:ext cx="1166233" cy="234393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200" dirty="0">
              <a:solidFill>
                <a:schemeClr val="accent1"/>
              </a:solidFill>
            </a:endParaRPr>
          </a:p>
        </p:txBody>
      </p:sp>
      <p:sp>
        <p:nvSpPr>
          <p:cNvPr id="295" name="Rectangle 31">
            <a:extLst>
              <a:ext uri="{FF2B5EF4-FFF2-40B4-BE49-F238E27FC236}">
                <a16:creationId xmlns:a16="http://schemas.microsoft.com/office/drawing/2014/main" xmlns="" id="{DFBFC90D-202C-49A2-AB43-9307FB28F1DD}"/>
              </a:ext>
            </a:extLst>
          </p:cNvPr>
          <p:cNvSpPr/>
          <p:nvPr/>
        </p:nvSpPr>
        <p:spPr>
          <a:xfrm>
            <a:off x="9373398" y="2866590"/>
            <a:ext cx="1166233" cy="234393"/>
          </a:xfrm>
          <a:prstGeom prst="rect">
            <a:avLst/>
          </a:prstGeom>
          <a:solidFill>
            <a:schemeClr val="bg1"/>
          </a:solidFill>
          <a:ln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200" dirty="0">
              <a:solidFill>
                <a:schemeClr val="accent5"/>
              </a:solidFill>
            </a:endParaRPr>
          </a:p>
        </p:txBody>
      </p:sp>
      <p:sp>
        <p:nvSpPr>
          <p:cNvPr id="296" name="Rectangle 32">
            <a:extLst>
              <a:ext uri="{FF2B5EF4-FFF2-40B4-BE49-F238E27FC236}">
                <a16:creationId xmlns:a16="http://schemas.microsoft.com/office/drawing/2014/main" xmlns="" id="{3175397D-15B2-4905-BD5A-A310A99EDD61}"/>
              </a:ext>
            </a:extLst>
          </p:cNvPr>
          <p:cNvSpPr/>
          <p:nvPr/>
        </p:nvSpPr>
        <p:spPr>
          <a:xfrm>
            <a:off x="10792289" y="2866589"/>
            <a:ext cx="1166233" cy="234393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200" dirty="0">
              <a:solidFill>
                <a:schemeClr val="accent3"/>
              </a:solidFill>
            </a:endParaRPr>
          </a:p>
        </p:txBody>
      </p:sp>
      <p:sp>
        <p:nvSpPr>
          <p:cNvPr id="297" name="Rectangle 34">
            <a:extLst>
              <a:ext uri="{FF2B5EF4-FFF2-40B4-BE49-F238E27FC236}">
                <a16:creationId xmlns:a16="http://schemas.microsoft.com/office/drawing/2014/main" xmlns="" id="{54433E2A-9A17-407C-91EA-1C427630F2DB}"/>
              </a:ext>
            </a:extLst>
          </p:cNvPr>
          <p:cNvSpPr/>
          <p:nvPr/>
        </p:nvSpPr>
        <p:spPr>
          <a:xfrm>
            <a:off x="9372480" y="3306000"/>
            <a:ext cx="1166233" cy="351097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+mj-lt"/>
              </a:rPr>
              <a:t>KPI </a:t>
            </a:r>
            <a:r>
              <a:rPr lang="ru-RU" sz="1200" dirty="0">
                <a:latin typeface="+mj-lt"/>
              </a:rPr>
              <a:t>губернаторов</a:t>
            </a:r>
            <a:endParaRPr lang="id-ID" sz="1200" dirty="0">
              <a:latin typeface="+mj-lt"/>
            </a:endParaRPr>
          </a:p>
        </p:txBody>
      </p:sp>
      <p:sp>
        <p:nvSpPr>
          <p:cNvPr id="298" name="Rectangle 35">
            <a:extLst>
              <a:ext uri="{FF2B5EF4-FFF2-40B4-BE49-F238E27FC236}">
                <a16:creationId xmlns:a16="http://schemas.microsoft.com/office/drawing/2014/main" xmlns="" id="{0DE9B69E-CD58-4EDE-84EC-E3FD42AF21C5}"/>
              </a:ext>
            </a:extLst>
          </p:cNvPr>
          <p:cNvSpPr/>
          <p:nvPr/>
        </p:nvSpPr>
        <p:spPr>
          <a:xfrm>
            <a:off x="6545170" y="3318337"/>
            <a:ext cx="1166233" cy="351097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dirty="0">
                <a:latin typeface="+mj-lt"/>
              </a:rPr>
              <a:t>Трудовые ресурсы </a:t>
            </a:r>
          </a:p>
          <a:p>
            <a:pPr algn="ctr"/>
            <a:r>
              <a:rPr lang="ru-RU" sz="900" dirty="0">
                <a:latin typeface="+mj-lt"/>
              </a:rPr>
              <a:t>и заработная плата</a:t>
            </a:r>
            <a:endParaRPr lang="id-ID" sz="900" dirty="0">
              <a:latin typeface="+mj-lt"/>
            </a:endParaRPr>
          </a:p>
        </p:txBody>
      </p:sp>
      <p:cxnSp>
        <p:nvCxnSpPr>
          <p:cNvPr id="299" name="Straight Connector 43">
            <a:extLst>
              <a:ext uri="{FF2B5EF4-FFF2-40B4-BE49-F238E27FC236}">
                <a16:creationId xmlns:a16="http://schemas.microsoft.com/office/drawing/2014/main" xmlns="" id="{BCD97348-5664-4982-8949-A595EB6A403B}"/>
              </a:ext>
            </a:extLst>
          </p:cNvPr>
          <p:cNvCxnSpPr>
            <a:cxnSpLocks/>
          </p:cNvCxnSpPr>
          <p:nvPr/>
        </p:nvCxnSpPr>
        <p:spPr>
          <a:xfrm flipV="1">
            <a:off x="7120070" y="3210396"/>
            <a:ext cx="2836444" cy="1"/>
          </a:xfrm>
          <a:prstGeom prst="lin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0" name="Rectangle 23">
            <a:extLst>
              <a:ext uri="{FF2B5EF4-FFF2-40B4-BE49-F238E27FC236}">
                <a16:creationId xmlns:a16="http://schemas.microsoft.com/office/drawing/2014/main" xmlns="" id="{D1B800F4-9B5C-4561-897B-EE873B88E9BD}"/>
              </a:ext>
            </a:extLst>
          </p:cNvPr>
          <p:cNvSpPr/>
          <p:nvPr/>
        </p:nvSpPr>
        <p:spPr>
          <a:xfrm>
            <a:off x="5124955" y="1829105"/>
            <a:ext cx="1166233" cy="370652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+mj-lt"/>
              </a:rPr>
              <a:t>Демография</a:t>
            </a:r>
            <a:endParaRPr lang="id-ID" sz="1200" dirty="0">
              <a:latin typeface="+mj-lt"/>
            </a:endParaRPr>
          </a:p>
        </p:txBody>
      </p:sp>
      <p:sp>
        <p:nvSpPr>
          <p:cNvPr id="301" name="Rectangle 28">
            <a:extLst>
              <a:ext uri="{FF2B5EF4-FFF2-40B4-BE49-F238E27FC236}">
                <a16:creationId xmlns:a16="http://schemas.microsoft.com/office/drawing/2014/main" xmlns="" id="{BF537387-0CC4-4D2A-B741-065C3BD4B6A4}"/>
              </a:ext>
            </a:extLst>
          </p:cNvPr>
          <p:cNvSpPr/>
          <p:nvPr/>
        </p:nvSpPr>
        <p:spPr>
          <a:xfrm>
            <a:off x="5124955" y="2201292"/>
            <a:ext cx="1166233" cy="420964"/>
          </a:xfrm>
          <a:prstGeom prst="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>
              <a:latin typeface="+mj-lt"/>
            </a:endParaRPr>
          </a:p>
        </p:txBody>
      </p:sp>
      <p:sp>
        <p:nvSpPr>
          <p:cNvPr id="302" name="Rectangle 47">
            <a:extLst>
              <a:ext uri="{FF2B5EF4-FFF2-40B4-BE49-F238E27FC236}">
                <a16:creationId xmlns:a16="http://schemas.microsoft.com/office/drawing/2014/main" xmlns="" id="{2D18739F-060A-4485-A872-5CF2A91EF3A1}"/>
              </a:ext>
            </a:extLst>
          </p:cNvPr>
          <p:cNvSpPr/>
          <p:nvPr/>
        </p:nvSpPr>
        <p:spPr>
          <a:xfrm>
            <a:off x="5145031" y="2238758"/>
            <a:ext cx="1191960" cy="2089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id-ID" sz="1600" dirty="0">
              <a:solidFill>
                <a:schemeClr val="tx2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303" name="Rectangle 24">
            <a:extLst>
              <a:ext uri="{FF2B5EF4-FFF2-40B4-BE49-F238E27FC236}">
                <a16:creationId xmlns:a16="http://schemas.microsoft.com/office/drawing/2014/main" xmlns="" id="{B7ED276F-9FF5-46D9-9161-730C6B5275AF}"/>
              </a:ext>
            </a:extLst>
          </p:cNvPr>
          <p:cNvSpPr/>
          <p:nvPr/>
        </p:nvSpPr>
        <p:spPr>
          <a:xfrm>
            <a:off x="6543846" y="1829105"/>
            <a:ext cx="1166233" cy="37065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>
                <a:latin typeface="+mj-lt"/>
              </a:rPr>
              <a:t>Здравоохранение</a:t>
            </a:r>
            <a:endParaRPr lang="id-ID" sz="1000" dirty="0">
              <a:latin typeface="+mj-lt"/>
            </a:endParaRPr>
          </a:p>
        </p:txBody>
      </p:sp>
      <p:sp>
        <p:nvSpPr>
          <p:cNvPr id="304" name="Rectangle 29">
            <a:extLst>
              <a:ext uri="{FF2B5EF4-FFF2-40B4-BE49-F238E27FC236}">
                <a16:creationId xmlns:a16="http://schemas.microsoft.com/office/drawing/2014/main" xmlns="" id="{7FD7DEDA-EFDE-405F-A683-2A44EC89A812}"/>
              </a:ext>
            </a:extLst>
          </p:cNvPr>
          <p:cNvSpPr/>
          <p:nvPr/>
        </p:nvSpPr>
        <p:spPr>
          <a:xfrm>
            <a:off x="6543846" y="2201292"/>
            <a:ext cx="1166233" cy="420964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>
              <a:latin typeface="+mj-lt"/>
            </a:endParaRPr>
          </a:p>
        </p:txBody>
      </p:sp>
      <p:sp>
        <p:nvSpPr>
          <p:cNvPr id="305" name="Rectangle 48">
            <a:extLst>
              <a:ext uri="{FF2B5EF4-FFF2-40B4-BE49-F238E27FC236}">
                <a16:creationId xmlns:a16="http://schemas.microsoft.com/office/drawing/2014/main" xmlns="" id="{6D010F12-F312-4772-9667-E6503D70DC19}"/>
              </a:ext>
            </a:extLst>
          </p:cNvPr>
          <p:cNvSpPr/>
          <p:nvPr/>
        </p:nvSpPr>
        <p:spPr>
          <a:xfrm>
            <a:off x="6554924" y="2236694"/>
            <a:ext cx="1191960" cy="2089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id-ID" sz="1600" dirty="0">
              <a:latin typeface="+mj-lt"/>
            </a:endParaRPr>
          </a:p>
        </p:txBody>
      </p:sp>
      <p:sp>
        <p:nvSpPr>
          <p:cNvPr id="306" name="Rectangle 15">
            <a:extLst>
              <a:ext uri="{FF2B5EF4-FFF2-40B4-BE49-F238E27FC236}">
                <a16:creationId xmlns:a16="http://schemas.microsoft.com/office/drawing/2014/main" xmlns="" id="{B3000940-1454-4B27-B349-E273CBAB7FE2}"/>
              </a:ext>
            </a:extLst>
          </p:cNvPr>
          <p:cNvSpPr/>
          <p:nvPr/>
        </p:nvSpPr>
        <p:spPr>
          <a:xfrm>
            <a:off x="7954506" y="1829105"/>
            <a:ext cx="1166233" cy="370652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>
                <a:latin typeface="+mj-lt"/>
              </a:rPr>
              <a:t>Доходы населения</a:t>
            </a:r>
            <a:endParaRPr lang="id-ID" sz="1100" dirty="0">
              <a:latin typeface="+mj-lt"/>
            </a:endParaRPr>
          </a:p>
        </p:txBody>
      </p:sp>
      <p:sp>
        <p:nvSpPr>
          <p:cNvPr id="307" name="Rectangle 25">
            <a:extLst>
              <a:ext uri="{FF2B5EF4-FFF2-40B4-BE49-F238E27FC236}">
                <a16:creationId xmlns:a16="http://schemas.microsoft.com/office/drawing/2014/main" xmlns="" id="{3C03BCBE-72E5-4F32-B042-D2FB2303CFB6}"/>
              </a:ext>
            </a:extLst>
          </p:cNvPr>
          <p:cNvSpPr/>
          <p:nvPr/>
        </p:nvSpPr>
        <p:spPr>
          <a:xfrm>
            <a:off x="7954506" y="2201292"/>
            <a:ext cx="1166233" cy="420964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>
              <a:latin typeface="+mj-lt"/>
            </a:endParaRPr>
          </a:p>
        </p:txBody>
      </p:sp>
      <p:sp>
        <p:nvSpPr>
          <p:cNvPr id="308" name="Rectangle 49">
            <a:extLst>
              <a:ext uri="{FF2B5EF4-FFF2-40B4-BE49-F238E27FC236}">
                <a16:creationId xmlns:a16="http://schemas.microsoft.com/office/drawing/2014/main" xmlns="" id="{597A9F47-7D9A-4160-A68D-D5F370CEE8C2}"/>
              </a:ext>
            </a:extLst>
          </p:cNvPr>
          <p:cNvSpPr/>
          <p:nvPr/>
        </p:nvSpPr>
        <p:spPr>
          <a:xfrm>
            <a:off x="7964204" y="2236694"/>
            <a:ext cx="1191960" cy="2089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id-ID" sz="1600" dirty="0">
              <a:latin typeface="+mj-lt"/>
            </a:endParaRPr>
          </a:p>
        </p:txBody>
      </p:sp>
      <p:sp>
        <p:nvSpPr>
          <p:cNvPr id="309" name="Rectangle 21">
            <a:extLst>
              <a:ext uri="{FF2B5EF4-FFF2-40B4-BE49-F238E27FC236}">
                <a16:creationId xmlns:a16="http://schemas.microsoft.com/office/drawing/2014/main" xmlns="" id="{28032A5C-4001-4369-9772-06ABD34CA20E}"/>
              </a:ext>
            </a:extLst>
          </p:cNvPr>
          <p:cNvSpPr/>
          <p:nvPr/>
        </p:nvSpPr>
        <p:spPr>
          <a:xfrm>
            <a:off x="9373398" y="1829105"/>
            <a:ext cx="1166233" cy="370652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+mj-lt"/>
              </a:rPr>
              <a:t>Статистика цен </a:t>
            </a:r>
          </a:p>
          <a:p>
            <a:pPr algn="ctr"/>
            <a:r>
              <a:rPr lang="ru-RU" sz="1200" dirty="0">
                <a:latin typeface="+mj-lt"/>
              </a:rPr>
              <a:t>и финансов</a:t>
            </a:r>
            <a:endParaRPr lang="id-ID" sz="1200" dirty="0">
              <a:latin typeface="+mj-lt"/>
            </a:endParaRPr>
          </a:p>
        </p:txBody>
      </p:sp>
      <p:sp>
        <p:nvSpPr>
          <p:cNvPr id="310" name="Rectangle 26">
            <a:extLst>
              <a:ext uri="{FF2B5EF4-FFF2-40B4-BE49-F238E27FC236}">
                <a16:creationId xmlns:a16="http://schemas.microsoft.com/office/drawing/2014/main" xmlns="" id="{4AFAC5EA-3763-4BF8-9065-927A5D364AF3}"/>
              </a:ext>
            </a:extLst>
          </p:cNvPr>
          <p:cNvSpPr/>
          <p:nvPr/>
        </p:nvSpPr>
        <p:spPr>
          <a:xfrm>
            <a:off x="9373398" y="2201292"/>
            <a:ext cx="1166233" cy="420964"/>
          </a:xfrm>
          <a:prstGeom prst="rect">
            <a:avLst/>
          </a:prstGeom>
          <a:solidFill>
            <a:schemeClr val="bg1"/>
          </a:solidFill>
          <a:ln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>
              <a:latin typeface="+mj-lt"/>
            </a:endParaRPr>
          </a:p>
        </p:txBody>
      </p:sp>
      <p:sp>
        <p:nvSpPr>
          <p:cNvPr id="311" name="Rectangle 50">
            <a:extLst>
              <a:ext uri="{FF2B5EF4-FFF2-40B4-BE49-F238E27FC236}">
                <a16:creationId xmlns:a16="http://schemas.microsoft.com/office/drawing/2014/main" xmlns="" id="{8F6F7604-EA6F-4F71-80B6-683919165830}"/>
              </a:ext>
            </a:extLst>
          </p:cNvPr>
          <p:cNvSpPr/>
          <p:nvPr/>
        </p:nvSpPr>
        <p:spPr>
          <a:xfrm>
            <a:off x="9396220" y="2237253"/>
            <a:ext cx="1191960" cy="2089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id-ID" sz="1600" dirty="0">
              <a:latin typeface="+mj-lt"/>
            </a:endParaRPr>
          </a:p>
        </p:txBody>
      </p:sp>
      <p:sp>
        <p:nvSpPr>
          <p:cNvPr id="312" name="Rectangle 22">
            <a:extLst>
              <a:ext uri="{FF2B5EF4-FFF2-40B4-BE49-F238E27FC236}">
                <a16:creationId xmlns:a16="http://schemas.microsoft.com/office/drawing/2014/main" xmlns="" id="{5C435D46-2349-4A21-A737-1E5A3102CEA4}"/>
              </a:ext>
            </a:extLst>
          </p:cNvPr>
          <p:cNvSpPr/>
          <p:nvPr/>
        </p:nvSpPr>
        <p:spPr>
          <a:xfrm>
            <a:off x="10792289" y="1829105"/>
            <a:ext cx="1166233" cy="370652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+mj-lt"/>
              </a:rPr>
              <a:t>Торговля и услуги</a:t>
            </a:r>
            <a:endParaRPr lang="id-ID" sz="1200" dirty="0">
              <a:latin typeface="+mj-lt"/>
            </a:endParaRPr>
          </a:p>
        </p:txBody>
      </p:sp>
      <p:sp>
        <p:nvSpPr>
          <p:cNvPr id="313" name="Rectangle 27">
            <a:extLst>
              <a:ext uri="{FF2B5EF4-FFF2-40B4-BE49-F238E27FC236}">
                <a16:creationId xmlns:a16="http://schemas.microsoft.com/office/drawing/2014/main" xmlns="" id="{E7EEB3BD-FACA-4088-B108-A8D3725B803B}"/>
              </a:ext>
            </a:extLst>
          </p:cNvPr>
          <p:cNvSpPr/>
          <p:nvPr/>
        </p:nvSpPr>
        <p:spPr>
          <a:xfrm>
            <a:off x="10792289" y="2201292"/>
            <a:ext cx="1166233" cy="420964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>
              <a:latin typeface="+mj-lt"/>
            </a:endParaRPr>
          </a:p>
        </p:txBody>
      </p:sp>
      <p:sp>
        <p:nvSpPr>
          <p:cNvPr id="314" name="Rectangle 51">
            <a:extLst>
              <a:ext uri="{FF2B5EF4-FFF2-40B4-BE49-F238E27FC236}">
                <a16:creationId xmlns:a16="http://schemas.microsoft.com/office/drawing/2014/main" xmlns="" id="{6C1D3E4B-10D3-4D04-B563-644EF42F3349}"/>
              </a:ext>
            </a:extLst>
          </p:cNvPr>
          <p:cNvSpPr/>
          <p:nvPr/>
        </p:nvSpPr>
        <p:spPr>
          <a:xfrm>
            <a:off x="10802607" y="2233715"/>
            <a:ext cx="1191960" cy="2089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id-ID" sz="1600" dirty="0">
              <a:latin typeface="+mj-lt"/>
            </a:endParaRPr>
          </a:p>
        </p:txBody>
      </p:sp>
      <p:sp>
        <p:nvSpPr>
          <p:cNvPr id="315" name="Rectangle 33">
            <a:extLst>
              <a:ext uri="{FF2B5EF4-FFF2-40B4-BE49-F238E27FC236}">
                <a16:creationId xmlns:a16="http://schemas.microsoft.com/office/drawing/2014/main" xmlns="" id="{AA70D445-855A-4F6F-A529-F60558DCC2EA}"/>
              </a:ext>
            </a:extLst>
          </p:cNvPr>
          <p:cNvSpPr/>
          <p:nvPr/>
        </p:nvSpPr>
        <p:spPr>
          <a:xfrm>
            <a:off x="7968287" y="3289666"/>
            <a:ext cx="1167557" cy="351097"/>
          </a:xfrm>
          <a:prstGeom prst="rect">
            <a:avLst/>
          </a:prstGeom>
          <a:solidFill>
            <a:schemeClr val="accent6">
              <a:lumMod val="75000"/>
              <a:lumOff val="25000"/>
            </a:schemeClr>
          </a:solidFill>
          <a:ln>
            <a:solidFill>
              <a:schemeClr val="accent6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+mj-lt"/>
              </a:rPr>
              <a:t>Статистика предприятий</a:t>
            </a:r>
            <a:endParaRPr lang="id-ID" sz="1200" dirty="0">
              <a:latin typeface="+mj-lt"/>
            </a:endParaRPr>
          </a:p>
        </p:txBody>
      </p:sp>
      <p:sp>
        <p:nvSpPr>
          <p:cNvPr id="316" name="Rectangle 36">
            <a:extLst>
              <a:ext uri="{FF2B5EF4-FFF2-40B4-BE49-F238E27FC236}">
                <a16:creationId xmlns:a16="http://schemas.microsoft.com/office/drawing/2014/main" xmlns="" id="{39B121D7-FEF2-47A4-BB20-28776F3F2B2C}"/>
              </a:ext>
            </a:extLst>
          </p:cNvPr>
          <p:cNvSpPr/>
          <p:nvPr/>
        </p:nvSpPr>
        <p:spPr>
          <a:xfrm>
            <a:off x="7960543" y="3637387"/>
            <a:ext cx="1166234" cy="408542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>
              <a:latin typeface="+mj-lt"/>
            </a:endParaRPr>
          </a:p>
        </p:txBody>
      </p:sp>
      <p:sp>
        <p:nvSpPr>
          <p:cNvPr id="317" name="Rectangle 36">
            <a:extLst>
              <a:ext uri="{FF2B5EF4-FFF2-40B4-BE49-F238E27FC236}">
                <a16:creationId xmlns:a16="http://schemas.microsoft.com/office/drawing/2014/main" xmlns="" id="{2DB4B612-5955-4CE9-B074-23FA63136D98}"/>
              </a:ext>
            </a:extLst>
          </p:cNvPr>
          <p:cNvSpPr/>
          <p:nvPr/>
        </p:nvSpPr>
        <p:spPr>
          <a:xfrm>
            <a:off x="6544096" y="3664082"/>
            <a:ext cx="1166234" cy="40854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>
              <a:latin typeface="+mj-lt"/>
            </a:endParaRPr>
          </a:p>
        </p:txBody>
      </p:sp>
      <p:sp>
        <p:nvSpPr>
          <p:cNvPr id="318" name="Rectangle 36">
            <a:extLst>
              <a:ext uri="{FF2B5EF4-FFF2-40B4-BE49-F238E27FC236}">
                <a16:creationId xmlns:a16="http://schemas.microsoft.com/office/drawing/2014/main" xmlns="" id="{739753B2-7317-4535-A24B-37C075B00D77}"/>
              </a:ext>
            </a:extLst>
          </p:cNvPr>
          <p:cNvSpPr/>
          <p:nvPr/>
        </p:nvSpPr>
        <p:spPr>
          <a:xfrm>
            <a:off x="9373397" y="3664082"/>
            <a:ext cx="1166234" cy="408542"/>
          </a:xfrm>
          <a:prstGeom prst="rect">
            <a:avLst/>
          </a:prstGeom>
          <a:solidFill>
            <a:schemeClr val="bg1"/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>
              <a:latin typeface="+mj-lt"/>
            </a:endParaRPr>
          </a:p>
        </p:txBody>
      </p:sp>
      <p:sp>
        <p:nvSpPr>
          <p:cNvPr id="319" name="Rectangle 30">
            <a:extLst>
              <a:ext uri="{FF2B5EF4-FFF2-40B4-BE49-F238E27FC236}">
                <a16:creationId xmlns:a16="http://schemas.microsoft.com/office/drawing/2014/main" xmlns="" id="{8036896D-EE9B-4101-ABF6-BDE90BAC849B}"/>
              </a:ext>
            </a:extLst>
          </p:cNvPr>
          <p:cNvSpPr/>
          <p:nvPr/>
        </p:nvSpPr>
        <p:spPr>
          <a:xfrm>
            <a:off x="6543846" y="4232533"/>
            <a:ext cx="1166233" cy="23439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200" dirty="0">
              <a:solidFill>
                <a:schemeClr val="accent1"/>
              </a:solidFill>
            </a:endParaRPr>
          </a:p>
        </p:txBody>
      </p:sp>
      <p:sp>
        <p:nvSpPr>
          <p:cNvPr id="320" name="Rectangle 30">
            <a:extLst>
              <a:ext uri="{FF2B5EF4-FFF2-40B4-BE49-F238E27FC236}">
                <a16:creationId xmlns:a16="http://schemas.microsoft.com/office/drawing/2014/main" xmlns="" id="{AA7DDAED-EA8A-412A-B09E-79076EEA78CB}"/>
              </a:ext>
            </a:extLst>
          </p:cNvPr>
          <p:cNvSpPr/>
          <p:nvPr/>
        </p:nvSpPr>
        <p:spPr>
          <a:xfrm>
            <a:off x="7954506" y="4232533"/>
            <a:ext cx="1166233" cy="234393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200" dirty="0">
              <a:solidFill>
                <a:schemeClr val="accent1"/>
              </a:solidFill>
            </a:endParaRPr>
          </a:p>
        </p:txBody>
      </p:sp>
      <p:sp>
        <p:nvSpPr>
          <p:cNvPr id="321" name="Rectangle 30">
            <a:extLst>
              <a:ext uri="{FF2B5EF4-FFF2-40B4-BE49-F238E27FC236}">
                <a16:creationId xmlns:a16="http://schemas.microsoft.com/office/drawing/2014/main" xmlns="" id="{F959F98A-EB83-48A8-BF66-9190CBF90397}"/>
              </a:ext>
            </a:extLst>
          </p:cNvPr>
          <p:cNvSpPr/>
          <p:nvPr/>
        </p:nvSpPr>
        <p:spPr>
          <a:xfrm>
            <a:off x="5126295" y="2866590"/>
            <a:ext cx="1166233" cy="234393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200" dirty="0">
              <a:solidFill>
                <a:schemeClr val="accent1"/>
              </a:solidFill>
            </a:endParaRPr>
          </a:p>
        </p:txBody>
      </p:sp>
      <p:grpSp>
        <p:nvGrpSpPr>
          <p:cNvPr id="322" name="Group 306">
            <a:extLst>
              <a:ext uri="{FF2B5EF4-FFF2-40B4-BE49-F238E27FC236}">
                <a16:creationId xmlns:a16="http://schemas.microsoft.com/office/drawing/2014/main" xmlns="" id="{F227109C-C875-4550-BA23-35BCCBE2CE78}"/>
              </a:ext>
            </a:extLst>
          </p:cNvPr>
          <p:cNvGrpSpPr/>
          <p:nvPr/>
        </p:nvGrpSpPr>
        <p:grpSpPr>
          <a:xfrm rot="10800000" flipH="1">
            <a:off x="5980682" y="3789480"/>
            <a:ext cx="637475" cy="546221"/>
            <a:chOff x="3414135" y="4761763"/>
            <a:chExt cx="919542" cy="627797"/>
          </a:xfrm>
        </p:grpSpPr>
        <p:cxnSp>
          <p:nvCxnSpPr>
            <p:cNvPr id="344" name="Straight Connector 307">
              <a:extLst>
                <a:ext uri="{FF2B5EF4-FFF2-40B4-BE49-F238E27FC236}">
                  <a16:creationId xmlns:a16="http://schemas.microsoft.com/office/drawing/2014/main" xmlns="" id="{DE67AB02-78DE-4634-A53F-CB149627BD9A}"/>
                </a:ext>
              </a:extLst>
            </p:cNvPr>
            <p:cNvCxnSpPr/>
            <p:nvPr/>
          </p:nvCxnSpPr>
          <p:spPr>
            <a:xfrm flipH="1">
              <a:off x="4028932" y="4761763"/>
              <a:ext cx="304745" cy="627797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prstDash val="dash"/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5" name="Straight Connector 308">
              <a:extLst>
                <a:ext uri="{FF2B5EF4-FFF2-40B4-BE49-F238E27FC236}">
                  <a16:creationId xmlns:a16="http://schemas.microsoft.com/office/drawing/2014/main" xmlns="" id="{E2FAA14A-1194-4BB4-9039-800CB6118958}"/>
                </a:ext>
              </a:extLst>
            </p:cNvPr>
            <p:cNvCxnSpPr/>
            <p:nvPr/>
          </p:nvCxnSpPr>
          <p:spPr>
            <a:xfrm flipH="1" flipV="1">
              <a:off x="3414135" y="5389560"/>
              <a:ext cx="614797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3" name="Oval 318">
            <a:extLst>
              <a:ext uri="{FF2B5EF4-FFF2-40B4-BE49-F238E27FC236}">
                <a16:creationId xmlns:a16="http://schemas.microsoft.com/office/drawing/2014/main" xmlns="" id="{ED9F5A1A-0E05-4A71-A89F-F8A8DBAF781D}"/>
              </a:ext>
            </a:extLst>
          </p:cNvPr>
          <p:cNvSpPr/>
          <p:nvPr/>
        </p:nvSpPr>
        <p:spPr>
          <a:xfrm flipH="1" flipV="1">
            <a:off x="6352821" y="3763493"/>
            <a:ext cx="81023" cy="8113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00" dirty="0"/>
          </a:p>
        </p:txBody>
      </p:sp>
      <p:grpSp>
        <p:nvGrpSpPr>
          <p:cNvPr id="324" name="Group 306">
            <a:extLst>
              <a:ext uri="{FF2B5EF4-FFF2-40B4-BE49-F238E27FC236}">
                <a16:creationId xmlns:a16="http://schemas.microsoft.com/office/drawing/2014/main" xmlns="" id="{7335AB74-24A2-4F77-9010-94B0C6A1D3E8}"/>
              </a:ext>
            </a:extLst>
          </p:cNvPr>
          <p:cNvGrpSpPr/>
          <p:nvPr/>
        </p:nvGrpSpPr>
        <p:grpSpPr>
          <a:xfrm rot="10800000">
            <a:off x="10444077" y="3667797"/>
            <a:ext cx="547562" cy="243366"/>
            <a:chOff x="3414135" y="4761763"/>
            <a:chExt cx="919542" cy="627797"/>
          </a:xfrm>
        </p:grpSpPr>
        <p:cxnSp>
          <p:nvCxnSpPr>
            <p:cNvPr id="342" name="Straight Connector 307">
              <a:extLst>
                <a:ext uri="{FF2B5EF4-FFF2-40B4-BE49-F238E27FC236}">
                  <a16:creationId xmlns:a16="http://schemas.microsoft.com/office/drawing/2014/main" xmlns="" id="{CC9E9BEF-8A5D-40AC-AE51-06102343F64A}"/>
                </a:ext>
              </a:extLst>
            </p:cNvPr>
            <p:cNvCxnSpPr/>
            <p:nvPr/>
          </p:nvCxnSpPr>
          <p:spPr>
            <a:xfrm flipH="1">
              <a:off x="4028932" y="4761763"/>
              <a:ext cx="304745" cy="627797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prstDash val="dash"/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3" name="Straight Connector 308">
              <a:extLst>
                <a:ext uri="{FF2B5EF4-FFF2-40B4-BE49-F238E27FC236}">
                  <a16:creationId xmlns:a16="http://schemas.microsoft.com/office/drawing/2014/main" xmlns="" id="{22C83647-D3E6-4D21-8154-5667AFF73042}"/>
                </a:ext>
              </a:extLst>
            </p:cNvPr>
            <p:cNvCxnSpPr/>
            <p:nvPr/>
          </p:nvCxnSpPr>
          <p:spPr>
            <a:xfrm flipH="1" flipV="1">
              <a:off x="3414135" y="5389560"/>
              <a:ext cx="614797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5" name="Oval 318">
            <a:extLst>
              <a:ext uri="{FF2B5EF4-FFF2-40B4-BE49-F238E27FC236}">
                <a16:creationId xmlns:a16="http://schemas.microsoft.com/office/drawing/2014/main" xmlns="" id="{66DFCB2F-4C77-479E-BC3C-69C54FBA09E0}"/>
              </a:ext>
            </a:extLst>
          </p:cNvPr>
          <p:cNvSpPr/>
          <p:nvPr/>
        </p:nvSpPr>
        <p:spPr>
          <a:xfrm flipV="1">
            <a:off x="10593767" y="3637408"/>
            <a:ext cx="69265" cy="72411"/>
          </a:xfrm>
          <a:prstGeom prst="ellipse">
            <a:avLst/>
          </a:prstGeom>
          <a:solidFill>
            <a:schemeClr val="accent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00" dirty="0"/>
          </a:p>
        </p:txBody>
      </p:sp>
      <p:sp>
        <p:nvSpPr>
          <p:cNvPr id="326" name="Прямоугольник 325">
            <a:extLst>
              <a:ext uri="{FF2B5EF4-FFF2-40B4-BE49-F238E27FC236}">
                <a16:creationId xmlns:a16="http://schemas.microsoft.com/office/drawing/2014/main" xmlns="" id="{45418540-241C-4AA6-9DA3-077602F044DD}"/>
              </a:ext>
            </a:extLst>
          </p:cNvPr>
          <p:cNvSpPr/>
          <p:nvPr/>
        </p:nvSpPr>
        <p:spPr>
          <a:xfrm>
            <a:off x="5360084" y="3701725"/>
            <a:ext cx="1025360" cy="12234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Базовые показатели </a:t>
            </a:r>
            <a:r>
              <a:rPr lang="ru-RU" sz="105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полученные,</a:t>
            </a:r>
            <a:endParaRPr lang="ru-RU" sz="1050" dirty="0">
              <a:solidFill>
                <a:schemeClr val="tx1">
                  <a:lumMod val="95000"/>
                  <a:lumOff val="5000"/>
                </a:schemeClr>
              </a:solidFill>
              <a:latin typeface="+mj-lt"/>
            </a:endParaRPr>
          </a:p>
          <a:p>
            <a:r>
              <a:rPr lang="ru-RU" sz="105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из </a:t>
            </a:r>
            <a:r>
              <a:rPr lang="ru-RU" sz="105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администра-тивных</a:t>
            </a:r>
            <a:r>
              <a:rPr lang="ru-RU" sz="105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 источников</a:t>
            </a:r>
          </a:p>
        </p:txBody>
      </p:sp>
      <p:sp>
        <p:nvSpPr>
          <p:cNvPr id="327" name="Прямоугольник 326">
            <a:extLst>
              <a:ext uri="{FF2B5EF4-FFF2-40B4-BE49-F238E27FC236}">
                <a16:creationId xmlns:a16="http://schemas.microsoft.com/office/drawing/2014/main" xmlns="" id="{DC186B8B-68C4-4E95-9753-A9B5ABA862C8}"/>
              </a:ext>
            </a:extLst>
          </p:cNvPr>
          <p:cNvSpPr/>
          <p:nvPr/>
        </p:nvSpPr>
        <p:spPr>
          <a:xfrm>
            <a:off x="11034534" y="3561565"/>
            <a:ext cx="1025360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Количество показателей </a:t>
            </a:r>
          </a:p>
          <a:p>
            <a:r>
              <a:rPr lang="ru-RU" sz="105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в группе</a:t>
            </a:r>
          </a:p>
        </p:txBody>
      </p:sp>
      <p:sp>
        <p:nvSpPr>
          <p:cNvPr id="328" name="TextBox 327">
            <a:extLst>
              <a:ext uri="{FF2B5EF4-FFF2-40B4-BE49-F238E27FC236}">
                <a16:creationId xmlns:a16="http://schemas.microsoft.com/office/drawing/2014/main" xmlns="" id="{4ABBAE06-3981-4E04-9B54-CC8445934477}"/>
              </a:ext>
            </a:extLst>
          </p:cNvPr>
          <p:cNvSpPr txBox="1"/>
          <p:nvPr/>
        </p:nvSpPr>
        <p:spPr>
          <a:xfrm>
            <a:off x="5488821" y="2166827"/>
            <a:ext cx="453183" cy="442035"/>
          </a:xfrm>
          <a:prstGeom prst="rect">
            <a:avLst/>
          </a:prstGeom>
          <a:noFill/>
        </p:spPr>
        <p:txBody>
          <a:bodyPr wrap="none" lIns="72000" tIns="36000" rIns="72000" bIns="36000" rtlCol="0" anchor="b">
            <a:spAutoFit/>
          </a:bodyPr>
          <a:lstStyle/>
          <a:p>
            <a:pPr algn="ctr"/>
            <a:r>
              <a:rPr lang="ru-RU" sz="2400" b="1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23</a:t>
            </a:r>
            <a:endParaRPr lang="id-ID" sz="2400" b="1" dirty="0">
              <a:solidFill>
                <a:schemeClr val="bg2">
                  <a:lumMod val="25000"/>
                </a:schemeClr>
              </a:solidFill>
              <a:latin typeface="+mj-lt"/>
            </a:endParaRPr>
          </a:p>
        </p:txBody>
      </p:sp>
      <p:sp>
        <p:nvSpPr>
          <p:cNvPr id="329" name="TextBox 328">
            <a:extLst>
              <a:ext uri="{FF2B5EF4-FFF2-40B4-BE49-F238E27FC236}">
                <a16:creationId xmlns:a16="http://schemas.microsoft.com/office/drawing/2014/main" xmlns="" id="{B822D42E-8B7A-4D67-B435-53FB499B10EA}"/>
              </a:ext>
            </a:extLst>
          </p:cNvPr>
          <p:cNvSpPr txBox="1"/>
          <p:nvPr/>
        </p:nvSpPr>
        <p:spPr>
          <a:xfrm>
            <a:off x="7002487" y="2166827"/>
            <a:ext cx="299295" cy="442035"/>
          </a:xfrm>
          <a:prstGeom prst="rect">
            <a:avLst/>
          </a:prstGeom>
          <a:noFill/>
        </p:spPr>
        <p:txBody>
          <a:bodyPr wrap="none" lIns="72000" tIns="36000" rIns="72000" bIns="36000" rtlCol="0" anchor="b">
            <a:spAutoFit/>
          </a:bodyPr>
          <a:lstStyle/>
          <a:p>
            <a:pPr algn="ctr"/>
            <a:r>
              <a:rPr lang="ru-RU" sz="2400" b="1" dirty="0">
                <a:solidFill>
                  <a:schemeClr val="bg2">
                    <a:lumMod val="50000"/>
                  </a:schemeClr>
                </a:solidFill>
                <a:latin typeface="+mj-lt"/>
              </a:rPr>
              <a:t>6</a:t>
            </a:r>
            <a:endParaRPr lang="id-ID" sz="2400" b="1" dirty="0">
              <a:solidFill>
                <a:schemeClr val="bg2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330" name="TextBox 329">
            <a:extLst>
              <a:ext uri="{FF2B5EF4-FFF2-40B4-BE49-F238E27FC236}">
                <a16:creationId xmlns:a16="http://schemas.microsoft.com/office/drawing/2014/main" xmlns="" id="{DFF9F214-1B31-46DE-A3F8-930E6FF99614}"/>
              </a:ext>
            </a:extLst>
          </p:cNvPr>
          <p:cNvSpPr txBox="1"/>
          <p:nvPr/>
        </p:nvSpPr>
        <p:spPr>
          <a:xfrm>
            <a:off x="8373773" y="2166827"/>
            <a:ext cx="299295" cy="442035"/>
          </a:xfrm>
          <a:prstGeom prst="rect">
            <a:avLst/>
          </a:prstGeom>
          <a:noFill/>
        </p:spPr>
        <p:txBody>
          <a:bodyPr wrap="none" lIns="72000" tIns="36000" rIns="72000" bIns="36000" rtlCol="0" anchor="b">
            <a:spAutoFit/>
          </a:bodyPr>
          <a:lstStyle/>
          <a:p>
            <a:pPr algn="ctr"/>
            <a:r>
              <a:rPr lang="ru-RU" sz="2400" b="1" dirty="0">
                <a:solidFill>
                  <a:schemeClr val="accent2">
                    <a:lumMod val="75000"/>
                  </a:schemeClr>
                </a:solidFill>
                <a:latin typeface="+mj-lt"/>
              </a:rPr>
              <a:t>9</a:t>
            </a:r>
            <a:endParaRPr lang="id-ID" sz="2400" b="1" dirty="0">
              <a:solidFill>
                <a:schemeClr val="accent2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331" name="TextBox 330">
            <a:extLst>
              <a:ext uri="{FF2B5EF4-FFF2-40B4-BE49-F238E27FC236}">
                <a16:creationId xmlns:a16="http://schemas.microsoft.com/office/drawing/2014/main" xmlns="" id="{770ABAA7-C68A-46B9-BFCE-B2BB92E14C65}"/>
              </a:ext>
            </a:extLst>
          </p:cNvPr>
          <p:cNvSpPr txBox="1"/>
          <p:nvPr/>
        </p:nvSpPr>
        <p:spPr>
          <a:xfrm>
            <a:off x="9810869" y="2166827"/>
            <a:ext cx="299295" cy="442035"/>
          </a:xfrm>
          <a:prstGeom prst="rect">
            <a:avLst/>
          </a:prstGeom>
          <a:noFill/>
        </p:spPr>
        <p:txBody>
          <a:bodyPr wrap="none" lIns="72000" tIns="36000" rIns="72000" bIns="36000" rtlCol="0" anchor="b">
            <a:spAutoFit/>
          </a:bodyPr>
          <a:lstStyle/>
          <a:p>
            <a:pPr algn="ctr"/>
            <a:r>
              <a:rPr lang="ru-RU" sz="2400" b="1" dirty="0">
                <a:solidFill>
                  <a:schemeClr val="accent4">
                    <a:lumMod val="75000"/>
                  </a:schemeClr>
                </a:solidFill>
                <a:latin typeface="+mj-lt"/>
              </a:rPr>
              <a:t>4</a:t>
            </a:r>
            <a:endParaRPr lang="id-ID" sz="2400" b="1" dirty="0">
              <a:solidFill>
                <a:schemeClr val="accent4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332" name="TextBox 331">
            <a:extLst>
              <a:ext uri="{FF2B5EF4-FFF2-40B4-BE49-F238E27FC236}">
                <a16:creationId xmlns:a16="http://schemas.microsoft.com/office/drawing/2014/main" xmlns="" id="{FCB098C4-EDF2-4637-AD4B-51BE958624D8}"/>
              </a:ext>
            </a:extLst>
          </p:cNvPr>
          <p:cNvSpPr txBox="1"/>
          <p:nvPr/>
        </p:nvSpPr>
        <p:spPr>
          <a:xfrm>
            <a:off x="11225758" y="2166827"/>
            <a:ext cx="299295" cy="442035"/>
          </a:xfrm>
          <a:prstGeom prst="rect">
            <a:avLst/>
          </a:prstGeom>
          <a:noFill/>
        </p:spPr>
        <p:txBody>
          <a:bodyPr wrap="none" lIns="72000" tIns="36000" rIns="72000" bIns="36000" rtlCol="0" anchor="b">
            <a:spAutoFit/>
          </a:bodyPr>
          <a:lstStyle/>
          <a:p>
            <a:pPr algn="ctr"/>
            <a:r>
              <a:rPr lang="ru-RU" sz="2400" b="1" dirty="0">
                <a:solidFill>
                  <a:schemeClr val="accent3">
                    <a:lumMod val="75000"/>
                  </a:schemeClr>
                </a:solidFill>
                <a:latin typeface="+mj-lt"/>
              </a:rPr>
              <a:t>5</a:t>
            </a:r>
            <a:endParaRPr lang="id-ID" sz="2400" b="1" dirty="0">
              <a:solidFill>
                <a:schemeClr val="accent3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333" name="TextBox 332">
            <a:extLst>
              <a:ext uri="{FF2B5EF4-FFF2-40B4-BE49-F238E27FC236}">
                <a16:creationId xmlns:a16="http://schemas.microsoft.com/office/drawing/2014/main" xmlns="" id="{FFC6CBE1-DD80-4BDA-B04B-41ED0D1E3B6E}"/>
              </a:ext>
            </a:extLst>
          </p:cNvPr>
          <p:cNvSpPr txBox="1"/>
          <p:nvPr/>
        </p:nvSpPr>
        <p:spPr>
          <a:xfrm>
            <a:off x="6917835" y="3636129"/>
            <a:ext cx="453184" cy="442035"/>
          </a:xfrm>
          <a:prstGeom prst="rect">
            <a:avLst/>
          </a:prstGeom>
          <a:noFill/>
        </p:spPr>
        <p:txBody>
          <a:bodyPr wrap="none" lIns="72000" tIns="36000" rIns="72000" bIns="36000" rtlCol="0" anchor="b">
            <a:spAutoFit/>
          </a:bodyPr>
          <a:lstStyle/>
          <a:p>
            <a:pPr algn="ctr"/>
            <a:r>
              <a:rPr lang="ru-RU" sz="2400" b="1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41</a:t>
            </a:r>
            <a:endParaRPr lang="id-ID" sz="2400" b="1" dirty="0">
              <a:solidFill>
                <a:schemeClr val="bg1">
                  <a:lumMod val="65000"/>
                </a:schemeClr>
              </a:solidFill>
              <a:latin typeface="+mj-lt"/>
            </a:endParaRPr>
          </a:p>
        </p:txBody>
      </p:sp>
      <p:sp>
        <p:nvSpPr>
          <p:cNvPr id="334" name="TextBox 333">
            <a:extLst>
              <a:ext uri="{FF2B5EF4-FFF2-40B4-BE49-F238E27FC236}">
                <a16:creationId xmlns:a16="http://schemas.microsoft.com/office/drawing/2014/main" xmlns="" id="{387BBD13-39F7-41D4-836E-FA9D5DAD62F2}"/>
              </a:ext>
            </a:extLst>
          </p:cNvPr>
          <p:cNvSpPr txBox="1"/>
          <p:nvPr/>
        </p:nvSpPr>
        <p:spPr>
          <a:xfrm>
            <a:off x="8381099" y="3636129"/>
            <a:ext cx="299295" cy="442035"/>
          </a:xfrm>
          <a:prstGeom prst="rect">
            <a:avLst/>
          </a:prstGeom>
          <a:noFill/>
        </p:spPr>
        <p:txBody>
          <a:bodyPr wrap="none" lIns="72000" tIns="36000" rIns="72000" bIns="36000" rtlCol="0" anchor="b">
            <a:spAutoFit/>
          </a:bodyPr>
          <a:lstStyle/>
          <a:p>
            <a:pPr algn="ctr"/>
            <a:r>
              <a:rPr lang="ru-RU" sz="2400" b="1" dirty="0">
                <a:solidFill>
                  <a:schemeClr val="accent6">
                    <a:lumMod val="75000"/>
                    <a:lumOff val="25000"/>
                  </a:schemeClr>
                </a:solidFill>
                <a:latin typeface="+mj-lt"/>
              </a:rPr>
              <a:t>8</a:t>
            </a:r>
            <a:endParaRPr lang="id-ID" sz="2400" b="1" dirty="0">
              <a:solidFill>
                <a:schemeClr val="accent6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335" name="TextBox 334">
            <a:extLst>
              <a:ext uri="{FF2B5EF4-FFF2-40B4-BE49-F238E27FC236}">
                <a16:creationId xmlns:a16="http://schemas.microsoft.com/office/drawing/2014/main" xmlns="" id="{9BF058A5-4C73-4947-9BC5-2B04730F6FDB}"/>
              </a:ext>
            </a:extLst>
          </p:cNvPr>
          <p:cNvSpPr txBox="1"/>
          <p:nvPr/>
        </p:nvSpPr>
        <p:spPr>
          <a:xfrm>
            <a:off x="9798650" y="3636129"/>
            <a:ext cx="299295" cy="442035"/>
          </a:xfrm>
          <a:prstGeom prst="rect">
            <a:avLst/>
          </a:prstGeom>
          <a:noFill/>
        </p:spPr>
        <p:txBody>
          <a:bodyPr wrap="none" lIns="72000" tIns="36000" rIns="72000" bIns="36000" rtlCol="0" anchor="b">
            <a:spAutoFit/>
          </a:bodyPr>
          <a:lstStyle/>
          <a:p>
            <a:pPr algn="ctr"/>
            <a:r>
              <a:rPr lang="ru-RU" sz="2400" b="1" dirty="0">
                <a:solidFill>
                  <a:schemeClr val="accent5">
                    <a:lumMod val="75000"/>
                  </a:schemeClr>
                </a:solidFill>
                <a:latin typeface="+mj-lt"/>
              </a:rPr>
              <a:t>7</a:t>
            </a:r>
            <a:endParaRPr lang="id-ID" sz="2400" b="1" dirty="0">
              <a:solidFill>
                <a:schemeClr val="accent5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336" name="TextBox 335">
            <a:extLst>
              <a:ext uri="{FF2B5EF4-FFF2-40B4-BE49-F238E27FC236}">
                <a16:creationId xmlns:a16="http://schemas.microsoft.com/office/drawing/2014/main" xmlns="" id="{FEBF443C-E9BA-4275-9D57-4F72D7766B2A}"/>
              </a:ext>
            </a:extLst>
          </p:cNvPr>
          <p:cNvSpPr txBox="1"/>
          <p:nvPr/>
        </p:nvSpPr>
        <p:spPr>
          <a:xfrm>
            <a:off x="5585848" y="2840223"/>
            <a:ext cx="236778" cy="288147"/>
          </a:xfrm>
          <a:prstGeom prst="rect">
            <a:avLst/>
          </a:prstGeom>
          <a:noFill/>
        </p:spPr>
        <p:txBody>
          <a:bodyPr wrap="none" lIns="72000" tIns="36000" rIns="72000" bIns="36000" rtlCol="0" anchor="b">
            <a:spAutoFit/>
          </a:bodyPr>
          <a:lstStyle/>
          <a:p>
            <a:pPr algn="ctr"/>
            <a:r>
              <a:rPr lang="ru-RU" sz="1400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7</a:t>
            </a:r>
            <a:endParaRPr lang="id-ID" sz="1400" dirty="0">
              <a:solidFill>
                <a:schemeClr val="bg2">
                  <a:lumMod val="25000"/>
                </a:schemeClr>
              </a:solidFill>
              <a:latin typeface="+mj-lt"/>
            </a:endParaRPr>
          </a:p>
        </p:txBody>
      </p:sp>
      <p:sp>
        <p:nvSpPr>
          <p:cNvPr id="337" name="TextBox 336">
            <a:extLst>
              <a:ext uri="{FF2B5EF4-FFF2-40B4-BE49-F238E27FC236}">
                <a16:creationId xmlns:a16="http://schemas.microsoft.com/office/drawing/2014/main" xmlns="" id="{CE09CC1C-DB8B-4ACC-BE98-394CF31A94DE}"/>
              </a:ext>
            </a:extLst>
          </p:cNvPr>
          <p:cNvSpPr txBox="1"/>
          <p:nvPr/>
        </p:nvSpPr>
        <p:spPr>
          <a:xfrm>
            <a:off x="7007684" y="2840223"/>
            <a:ext cx="236777" cy="288147"/>
          </a:xfrm>
          <a:prstGeom prst="rect">
            <a:avLst/>
          </a:prstGeom>
          <a:noFill/>
        </p:spPr>
        <p:txBody>
          <a:bodyPr wrap="none" lIns="72000" tIns="36000" rIns="72000" bIns="36000" rtlCol="0" anchor="b">
            <a:spAutoFit/>
          </a:bodyPr>
          <a:lstStyle/>
          <a:p>
            <a:pPr algn="ctr"/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+mj-lt"/>
              </a:rPr>
              <a:t>6</a:t>
            </a:r>
            <a:endParaRPr lang="id-ID" sz="1400" dirty="0">
              <a:solidFill>
                <a:schemeClr val="bg2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338" name="TextBox 337">
            <a:extLst>
              <a:ext uri="{FF2B5EF4-FFF2-40B4-BE49-F238E27FC236}">
                <a16:creationId xmlns:a16="http://schemas.microsoft.com/office/drawing/2014/main" xmlns="" id="{B4A1DE75-FB88-4635-84D5-587025AB37A3}"/>
              </a:ext>
            </a:extLst>
          </p:cNvPr>
          <p:cNvSpPr txBox="1"/>
          <p:nvPr/>
        </p:nvSpPr>
        <p:spPr>
          <a:xfrm>
            <a:off x="9826507" y="2840223"/>
            <a:ext cx="236778" cy="288147"/>
          </a:xfrm>
          <a:prstGeom prst="rect">
            <a:avLst/>
          </a:prstGeom>
          <a:noFill/>
        </p:spPr>
        <p:txBody>
          <a:bodyPr wrap="none" lIns="72000" tIns="36000" rIns="72000" bIns="36000" rtlCol="0" anchor="b">
            <a:spAutoFit/>
          </a:bodyPr>
          <a:lstStyle/>
          <a:p>
            <a:pPr algn="ctr"/>
            <a:r>
              <a:rPr lang="ru-RU" sz="1400" dirty="0">
                <a:solidFill>
                  <a:schemeClr val="accent4">
                    <a:lumMod val="75000"/>
                  </a:schemeClr>
                </a:solidFill>
                <a:latin typeface="+mj-lt"/>
              </a:rPr>
              <a:t>1</a:t>
            </a:r>
            <a:endParaRPr lang="id-ID" sz="1400" dirty="0">
              <a:solidFill>
                <a:schemeClr val="accent4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339" name="TextBox 338">
            <a:extLst>
              <a:ext uri="{FF2B5EF4-FFF2-40B4-BE49-F238E27FC236}">
                <a16:creationId xmlns:a16="http://schemas.microsoft.com/office/drawing/2014/main" xmlns="" id="{18230DF4-69CE-44E4-8182-50EE151321AB}"/>
              </a:ext>
            </a:extLst>
          </p:cNvPr>
          <p:cNvSpPr txBox="1"/>
          <p:nvPr/>
        </p:nvSpPr>
        <p:spPr>
          <a:xfrm>
            <a:off x="11257017" y="2840223"/>
            <a:ext cx="236778" cy="288147"/>
          </a:xfrm>
          <a:prstGeom prst="rect">
            <a:avLst/>
          </a:prstGeom>
          <a:noFill/>
        </p:spPr>
        <p:txBody>
          <a:bodyPr wrap="none" lIns="72000" tIns="36000" rIns="72000" bIns="36000" rtlCol="0" anchor="b">
            <a:spAutoFit/>
          </a:bodyPr>
          <a:lstStyle/>
          <a:p>
            <a:pPr algn="ctr"/>
            <a:r>
              <a:rPr lang="ru-RU" sz="1400" dirty="0" smtClean="0">
                <a:solidFill>
                  <a:schemeClr val="accent3">
                    <a:lumMod val="75000"/>
                  </a:schemeClr>
                </a:solidFill>
                <a:latin typeface="+mj-lt"/>
              </a:rPr>
              <a:t>3</a:t>
            </a:r>
            <a:endParaRPr lang="id-ID" sz="1400" dirty="0">
              <a:solidFill>
                <a:schemeClr val="accent3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340" name="TextBox 339">
            <a:extLst>
              <a:ext uri="{FF2B5EF4-FFF2-40B4-BE49-F238E27FC236}">
                <a16:creationId xmlns:a16="http://schemas.microsoft.com/office/drawing/2014/main" xmlns="" id="{A4BB5C62-AAA8-4D4C-97AF-645FFB11BA71}"/>
              </a:ext>
            </a:extLst>
          </p:cNvPr>
          <p:cNvSpPr txBox="1"/>
          <p:nvPr/>
        </p:nvSpPr>
        <p:spPr>
          <a:xfrm>
            <a:off x="6954922" y="4219586"/>
            <a:ext cx="328149" cy="288147"/>
          </a:xfrm>
          <a:prstGeom prst="rect">
            <a:avLst/>
          </a:prstGeom>
          <a:noFill/>
        </p:spPr>
        <p:txBody>
          <a:bodyPr wrap="none" lIns="72000" tIns="36000" rIns="72000" bIns="36000" rtlCol="0" anchor="b">
            <a:spAutoFit/>
          </a:bodyPr>
          <a:lstStyle/>
          <a:p>
            <a:pPr algn="ctr"/>
            <a:r>
              <a:rPr lang="ru-RU" sz="14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24</a:t>
            </a:r>
            <a:endParaRPr lang="id-ID" sz="1400" dirty="0">
              <a:solidFill>
                <a:schemeClr val="bg1">
                  <a:lumMod val="65000"/>
                </a:schemeClr>
              </a:solidFill>
              <a:latin typeface="+mj-lt"/>
            </a:endParaRPr>
          </a:p>
        </p:txBody>
      </p:sp>
      <p:sp>
        <p:nvSpPr>
          <p:cNvPr id="341" name="TextBox 340">
            <a:extLst>
              <a:ext uri="{FF2B5EF4-FFF2-40B4-BE49-F238E27FC236}">
                <a16:creationId xmlns:a16="http://schemas.microsoft.com/office/drawing/2014/main" xmlns="" id="{5B49ED08-8685-4A40-83F8-9F6EB65AC9F7}"/>
              </a:ext>
            </a:extLst>
          </p:cNvPr>
          <p:cNvSpPr txBox="1"/>
          <p:nvPr/>
        </p:nvSpPr>
        <p:spPr>
          <a:xfrm>
            <a:off x="8419232" y="4219586"/>
            <a:ext cx="236778" cy="288147"/>
          </a:xfrm>
          <a:prstGeom prst="rect">
            <a:avLst/>
          </a:prstGeom>
          <a:noFill/>
        </p:spPr>
        <p:txBody>
          <a:bodyPr wrap="none" lIns="72000" tIns="36000" rIns="72000" bIns="36000" rtlCol="0" anchor="b">
            <a:spAutoFit/>
          </a:bodyPr>
          <a:lstStyle/>
          <a:p>
            <a:pPr algn="ctr"/>
            <a:r>
              <a:rPr lang="ru-RU" sz="1400" dirty="0">
                <a:solidFill>
                  <a:schemeClr val="accent6">
                    <a:lumMod val="75000"/>
                    <a:lumOff val="25000"/>
                  </a:schemeClr>
                </a:solidFill>
                <a:latin typeface="+mj-lt"/>
              </a:rPr>
              <a:t>4</a:t>
            </a:r>
            <a:endParaRPr lang="id-ID" sz="1400" dirty="0">
              <a:solidFill>
                <a:schemeClr val="accent6">
                  <a:lumMod val="75000"/>
                  <a:lumOff val="25000"/>
                </a:schemeClr>
              </a:solidFill>
              <a:latin typeface="+mj-lt"/>
            </a:endParaRPr>
          </a:p>
        </p:txBody>
      </p:sp>
      <p:grpSp>
        <p:nvGrpSpPr>
          <p:cNvPr id="199" name="Group 3">
            <a:extLst>
              <a:ext uri="{FF2B5EF4-FFF2-40B4-BE49-F238E27FC236}">
                <a16:creationId xmlns:a16="http://schemas.microsoft.com/office/drawing/2014/main" xmlns="" id="{6D636C95-7B0B-4683-98C8-B42472715649}"/>
              </a:ext>
            </a:extLst>
          </p:cNvPr>
          <p:cNvGrpSpPr/>
          <p:nvPr/>
        </p:nvGrpSpPr>
        <p:grpSpPr>
          <a:xfrm>
            <a:off x="7411204" y="4640189"/>
            <a:ext cx="4044677" cy="1795168"/>
            <a:chOff x="6359035" y="781050"/>
            <a:chExt cx="4525840" cy="1314450"/>
          </a:xfrm>
          <a:solidFill>
            <a:schemeClr val="bg1">
              <a:lumMod val="95000"/>
            </a:schemeClr>
          </a:solidFill>
        </p:grpSpPr>
        <p:sp>
          <p:nvSpPr>
            <p:cNvPr id="200" name="Rounded Rectangle 12">
              <a:extLst>
                <a:ext uri="{FF2B5EF4-FFF2-40B4-BE49-F238E27FC236}">
                  <a16:creationId xmlns:a16="http://schemas.microsoft.com/office/drawing/2014/main" xmlns="" id="{D534F73A-95E4-4D71-B571-CCBF2342692D}"/>
                </a:ext>
              </a:extLst>
            </p:cNvPr>
            <p:cNvSpPr/>
            <p:nvPr/>
          </p:nvSpPr>
          <p:spPr>
            <a:xfrm>
              <a:off x="6741500" y="781050"/>
              <a:ext cx="4143375" cy="1314450"/>
            </a:xfrm>
            <a:prstGeom prst="roundRect">
              <a:avLst>
                <a:gd name="adj" fmla="val 18116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201" name="Isosceles Triangle 13">
              <a:extLst>
                <a:ext uri="{FF2B5EF4-FFF2-40B4-BE49-F238E27FC236}">
                  <a16:creationId xmlns:a16="http://schemas.microsoft.com/office/drawing/2014/main" xmlns="" id="{6BA2ACFF-176D-4764-8C1B-008EEC9AEABC}"/>
                </a:ext>
              </a:extLst>
            </p:cNvPr>
            <p:cNvSpPr/>
            <p:nvPr/>
          </p:nvSpPr>
          <p:spPr>
            <a:xfrm rot="16200000">
              <a:off x="6344747" y="1123950"/>
              <a:ext cx="657225" cy="628650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</p:grpSp>
      <p:sp>
        <p:nvSpPr>
          <p:cNvPr id="202" name="Content Placeholder 2">
            <a:extLst>
              <a:ext uri="{FF2B5EF4-FFF2-40B4-BE49-F238E27FC236}">
                <a16:creationId xmlns:a16="http://schemas.microsoft.com/office/drawing/2014/main" xmlns="" id="{69063E57-CB3A-4F4B-BFDA-8B4936BAEDE2}"/>
              </a:ext>
            </a:extLst>
          </p:cNvPr>
          <p:cNvSpPr txBox="1">
            <a:spLocks/>
          </p:cNvSpPr>
          <p:nvPr/>
        </p:nvSpPr>
        <p:spPr>
          <a:xfrm>
            <a:off x="8069789" y="4776397"/>
            <a:ext cx="3366679" cy="93734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По итогам 2020 года</a:t>
            </a:r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  <a:p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25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 </a:t>
            </a: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показателей 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опубликовано в аналитической витрине ЦАП.</a:t>
            </a:r>
          </a:p>
          <a:p>
            <a:endParaRPr lang="ru-RU" sz="14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  <a:p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Возможность сравнивать тенденции </a:t>
            </a:r>
          </a:p>
          <a:p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по разным показателям в режиме онлайн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203" name="Rounded Rectangle 19">
            <a:extLst>
              <a:ext uri="{FF2B5EF4-FFF2-40B4-BE49-F238E27FC236}">
                <a16:creationId xmlns:a16="http://schemas.microsoft.com/office/drawing/2014/main" xmlns="" id="{EF803F4F-8E54-4312-AD4C-9743488E7195}"/>
              </a:ext>
            </a:extLst>
          </p:cNvPr>
          <p:cNvSpPr/>
          <p:nvPr/>
        </p:nvSpPr>
        <p:spPr>
          <a:xfrm>
            <a:off x="10773173" y="4388395"/>
            <a:ext cx="590550" cy="590550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noFill/>
          </a:ln>
          <a:effectLst>
            <a:outerShdw blurRad="215900" dir="5400000" sx="107000" sy="107000" algn="ctr" rotWithShape="0">
              <a:srgbClr val="000000">
                <a:alpha val="12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grpSp>
        <p:nvGrpSpPr>
          <p:cNvPr id="204" name="Group 26">
            <a:extLst>
              <a:ext uri="{FF2B5EF4-FFF2-40B4-BE49-F238E27FC236}">
                <a16:creationId xmlns:a16="http://schemas.microsoft.com/office/drawing/2014/main" xmlns="" id="{F2E1B5D5-1C1E-4BDF-B048-F48044080464}"/>
              </a:ext>
            </a:extLst>
          </p:cNvPr>
          <p:cNvGrpSpPr/>
          <p:nvPr/>
        </p:nvGrpSpPr>
        <p:grpSpPr>
          <a:xfrm>
            <a:off x="10903497" y="4500882"/>
            <a:ext cx="364107" cy="364107"/>
            <a:chOff x="7275629" y="3045147"/>
            <a:chExt cx="464344" cy="464344"/>
          </a:xfrm>
          <a:solidFill>
            <a:schemeClr val="bg1"/>
          </a:solidFill>
        </p:grpSpPr>
        <p:sp>
          <p:nvSpPr>
            <p:cNvPr id="205" name="AutoShape 56">
              <a:extLst>
                <a:ext uri="{FF2B5EF4-FFF2-40B4-BE49-F238E27FC236}">
                  <a16:creationId xmlns:a16="http://schemas.microsoft.com/office/drawing/2014/main" xmlns="" id="{A19E5999-BD41-4D4D-BE1D-77CF4C21039D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629" y="3045147"/>
              <a:ext cx="145256" cy="464344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16988" y="7316"/>
                  </a:moveTo>
                  <a:cubicBezTo>
                    <a:pt x="16954" y="7352"/>
                    <a:pt x="16923" y="7387"/>
                    <a:pt x="16883" y="7423"/>
                  </a:cubicBezTo>
                  <a:cubicBezTo>
                    <a:pt x="16677" y="7601"/>
                    <a:pt x="16414" y="7770"/>
                    <a:pt x="16066" y="7920"/>
                  </a:cubicBezTo>
                  <a:cubicBezTo>
                    <a:pt x="16057" y="7924"/>
                    <a:pt x="16044" y="7927"/>
                    <a:pt x="16038" y="7931"/>
                  </a:cubicBezTo>
                  <a:cubicBezTo>
                    <a:pt x="15662" y="8092"/>
                    <a:pt x="15214" y="8234"/>
                    <a:pt x="14705" y="8354"/>
                  </a:cubicBezTo>
                  <a:cubicBezTo>
                    <a:pt x="14697" y="8357"/>
                    <a:pt x="14692" y="8358"/>
                    <a:pt x="14686" y="8359"/>
                  </a:cubicBezTo>
                  <a:cubicBezTo>
                    <a:pt x="14163" y="8482"/>
                    <a:pt x="13584" y="8581"/>
                    <a:pt x="12960" y="8649"/>
                  </a:cubicBezTo>
                  <a:cubicBezTo>
                    <a:pt x="12279" y="8726"/>
                    <a:pt x="11560" y="8774"/>
                    <a:pt x="10800" y="8774"/>
                  </a:cubicBezTo>
                  <a:cubicBezTo>
                    <a:pt x="10037" y="8774"/>
                    <a:pt x="9318" y="8726"/>
                    <a:pt x="8640" y="8649"/>
                  </a:cubicBezTo>
                  <a:cubicBezTo>
                    <a:pt x="8016" y="8581"/>
                    <a:pt x="7435" y="8482"/>
                    <a:pt x="6914" y="8359"/>
                  </a:cubicBezTo>
                  <a:cubicBezTo>
                    <a:pt x="6908" y="8358"/>
                    <a:pt x="6901" y="8357"/>
                    <a:pt x="6893" y="8354"/>
                  </a:cubicBezTo>
                  <a:cubicBezTo>
                    <a:pt x="6385" y="8234"/>
                    <a:pt x="5937" y="8092"/>
                    <a:pt x="5562" y="7931"/>
                  </a:cubicBezTo>
                  <a:cubicBezTo>
                    <a:pt x="5553" y="7927"/>
                    <a:pt x="5541" y="7924"/>
                    <a:pt x="5531" y="7920"/>
                  </a:cubicBezTo>
                  <a:cubicBezTo>
                    <a:pt x="5184" y="7770"/>
                    <a:pt x="4921" y="7601"/>
                    <a:pt x="4715" y="7423"/>
                  </a:cubicBezTo>
                  <a:cubicBezTo>
                    <a:pt x="4676" y="7387"/>
                    <a:pt x="4644" y="7352"/>
                    <a:pt x="4612" y="7316"/>
                  </a:cubicBezTo>
                  <a:cubicBezTo>
                    <a:pt x="4437" y="7136"/>
                    <a:pt x="4320" y="6947"/>
                    <a:pt x="4320" y="6750"/>
                  </a:cubicBezTo>
                  <a:cubicBezTo>
                    <a:pt x="4320" y="6550"/>
                    <a:pt x="4437" y="6362"/>
                    <a:pt x="4612" y="6181"/>
                  </a:cubicBezTo>
                  <a:cubicBezTo>
                    <a:pt x="4644" y="6146"/>
                    <a:pt x="4676" y="6110"/>
                    <a:pt x="4715" y="6076"/>
                  </a:cubicBezTo>
                  <a:cubicBezTo>
                    <a:pt x="4921" y="5898"/>
                    <a:pt x="5184" y="5729"/>
                    <a:pt x="5531" y="5577"/>
                  </a:cubicBezTo>
                  <a:cubicBezTo>
                    <a:pt x="5541" y="5574"/>
                    <a:pt x="5553" y="5571"/>
                    <a:pt x="5562" y="5567"/>
                  </a:cubicBezTo>
                  <a:cubicBezTo>
                    <a:pt x="5937" y="5407"/>
                    <a:pt x="6385" y="5264"/>
                    <a:pt x="6893" y="5144"/>
                  </a:cubicBezTo>
                  <a:cubicBezTo>
                    <a:pt x="6901" y="5142"/>
                    <a:pt x="6908" y="5140"/>
                    <a:pt x="6914" y="5138"/>
                  </a:cubicBezTo>
                  <a:cubicBezTo>
                    <a:pt x="7435" y="5017"/>
                    <a:pt x="8016" y="4918"/>
                    <a:pt x="8640" y="4848"/>
                  </a:cubicBezTo>
                  <a:cubicBezTo>
                    <a:pt x="9318" y="4773"/>
                    <a:pt x="10037" y="4725"/>
                    <a:pt x="10800" y="4725"/>
                  </a:cubicBezTo>
                  <a:cubicBezTo>
                    <a:pt x="11560" y="4725"/>
                    <a:pt x="12279" y="4773"/>
                    <a:pt x="12960" y="4848"/>
                  </a:cubicBezTo>
                  <a:cubicBezTo>
                    <a:pt x="13584" y="4918"/>
                    <a:pt x="14163" y="5017"/>
                    <a:pt x="14686" y="5138"/>
                  </a:cubicBezTo>
                  <a:cubicBezTo>
                    <a:pt x="14692" y="5140"/>
                    <a:pt x="14697" y="5142"/>
                    <a:pt x="14705" y="5144"/>
                  </a:cubicBezTo>
                  <a:cubicBezTo>
                    <a:pt x="15214" y="5264"/>
                    <a:pt x="15662" y="5407"/>
                    <a:pt x="16038" y="5567"/>
                  </a:cubicBezTo>
                  <a:cubicBezTo>
                    <a:pt x="16044" y="5571"/>
                    <a:pt x="16057" y="5574"/>
                    <a:pt x="16066" y="5577"/>
                  </a:cubicBezTo>
                  <a:cubicBezTo>
                    <a:pt x="16414" y="5729"/>
                    <a:pt x="16677" y="5898"/>
                    <a:pt x="16883" y="6076"/>
                  </a:cubicBezTo>
                  <a:cubicBezTo>
                    <a:pt x="16923" y="6110"/>
                    <a:pt x="16954" y="6146"/>
                    <a:pt x="16988" y="6181"/>
                  </a:cubicBezTo>
                  <a:cubicBezTo>
                    <a:pt x="17161" y="6362"/>
                    <a:pt x="17280" y="6550"/>
                    <a:pt x="17280" y="6750"/>
                  </a:cubicBezTo>
                  <a:cubicBezTo>
                    <a:pt x="17280" y="6947"/>
                    <a:pt x="17161" y="7136"/>
                    <a:pt x="16988" y="7316"/>
                  </a:cubicBezTo>
                  <a:moveTo>
                    <a:pt x="12960" y="19575"/>
                  </a:moveTo>
                  <a:cubicBezTo>
                    <a:pt x="12960" y="19948"/>
                    <a:pt x="11992" y="20249"/>
                    <a:pt x="10800" y="20249"/>
                  </a:cubicBezTo>
                  <a:cubicBezTo>
                    <a:pt x="9606" y="20249"/>
                    <a:pt x="8640" y="19948"/>
                    <a:pt x="8640" y="19575"/>
                  </a:cubicBezTo>
                  <a:lnTo>
                    <a:pt x="8640" y="10056"/>
                  </a:lnTo>
                  <a:cubicBezTo>
                    <a:pt x="9338" y="10101"/>
                    <a:pt x="10059" y="10124"/>
                    <a:pt x="10800" y="10124"/>
                  </a:cubicBezTo>
                  <a:cubicBezTo>
                    <a:pt x="11541" y="10124"/>
                    <a:pt x="12262" y="10101"/>
                    <a:pt x="12960" y="10056"/>
                  </a:cubicBezTo>
                  <a:cubicBezTo>
                    <a:pt x="12960" y="10056"/>
                    <a:pt x="12960" y="19575"/>
                    <a:pt x="12960" y="19575"/>
                  </a:cubicBezTo>
                  <a:close/>
                  <a:moveTo>
                    <a:pt x="8640" y="2025"/>
                  </a:moveTo>
                  <a:cubicBezTo>
                    <a:pt x="8640" y="1651"/>
                    <a:pt x="9606" y="1350"/>
                    <a:pt x="10800" y="1350"/>
                  </a:cubicBezTo>
                  <a:cubicBezTo>
                    <a:pt x="11992" y="1350"/>
                    <a:pt x="12960" y="1651"/>
                    <a:pt x="12960" y="2025"/>
                  </a:cubicBezTo>
                  <a:lnTo>
                    <a:pt x="12960" y="3442"/>
                  </a:lnTo>
                  <a:cubicBezTo>
                    <a:pt x="12262" y="3398"/>
                    <a:pt x="11541" y="3375"/>
                    <a:pt x="10800" y="3375"/>
                  </a:cubicBezTo>
                  <a:cubicBezTo>
                    <a:pt x="10059" y="3375"/>
                    <a:pt x="9338" y="3398"/>
                    <a:pt x="8640" y="3442"/>
                  </a:cubicBezTo>
                  <a:cubicBezTo>
                    <a:pt x="8640" y="3442"/>
                    <a:pt x="8640" y="2025"/>
                    <a:pt x="8640" y="2025"/>
                  </a:cubicBezTo>
                  <a:close/>
                  <a:moveTo>
                    <a:pt x="17280" y="4064"/>
                  </a:moveTo>
                  <a:lnTo>
                    <a:pt x="17280" y="2025"/>
                  </a:lnTo>
                  <a:cubicBezTo>
                    <a:pt x="17280" y="908"/>
                    <a:pt x="14373" y="0"/>
                    <a:pt x="10800" y="0"/>
                  </a:cubicBezTo>
                  <a:cubicBezTo>
                    <a:pt x="7225" y="0"/>
                    <a:pt x="4320" y="908"/>
                    <a:pt x="4320" y="2025"/>
                  </a:cubicBezTo>
                  <a:lnTo>
                    <a:pt x="4320" y="4064"/>
                  </a:lnTo>
                  <a:cubicBezTo>
                    <a:pt x="1710" y="4681"/>
                    <a:pt x="0" y="5649"/>
                    <a:pt x="0" y="6750"/>
                  </a:cubicBezTo>
                  <a:cubicBezTo>
                    <a:pt x="0" y="7850"/>
                    <a:pt x="1710" y="8818"/>
                    <a:pt x="4320" y="9434"/>
                  </a:cubicBezTo>
                  <a:lnTo>
                    <a:pt x="4320" y="19575"/>
                  </a:lnTo>
                  <a:cubicBezTo>
                    <a:pt x="4320" y="20691"/>
                    <a:pt x="7225" y="21599"/>
                    <a:pt x="10800" y="21599"/>
                  </a:cubicBezTo>
                  <a:cubicBezTo>
                    <a:pt x="14373" y="21599"/>
                    <a:pt x="17280" y="20691"/>
                    <a:pt x="17280" y="19575"/>
                  </a:cubicBezTo>
                  <a:lnTo>
                    <a:pt x="17280" y="9434"/>
                  </a:lnTo>
                  <a:cubicBezTo>
                    <a:pt x="19889" y="8818"/>
                    <a:pt x="21600" y="7850"/>
                    <a:pt x="21600" y="6750"/>
                  </a:cubicBezTo>
                  <a:cubicBezTo>
                    <a:pt x="21600" y="5649"/>
                    <a:pt x="19889" y="4681"/>
                    <a:pt x="17280" y="406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45" tIns="19045" rIns="19045" bIns="19045" anchor="ctr"/>
            <a:lstStyle/>
            <a:p>
              <a:pPr algn="ctr" defTabSz="228543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50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Gill Sans" charset="0"/>
                <a:sym typeface="Gill Sans" charset="0"/>
              </a:endParaRPr>
            </a:p>
          </p:txBody>
        </p:sp>
        <p:sp>
          <p:nvSpPr>
            <p:cNvPr id="209" name="AutoShape 57">
              <a:extLst>
                <a:ext uri="{FF2B5EF4-FFF2-40B4-BE49-F238E27FC236}">
                  <a16:creationId xmlns:a16="http://schemas.microsoft.com/office/drawing/2014/main" xmlns="" id="{ED7E4112-C9E0-4D43-B2D9-3B0BFB499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7594717" y="3045147"/>
              <a:ext cx="145256" cy="464344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16988" y="7316"/>
                  </a:moveTo>
                  <a:cubicBezTo>
                    <a:pt x="16954" y="7352"/>
                    <a:pt x="16923" y="7387"/>
                    <a:pt x="16883" y="7423"/>
                  </a:cubicBezTo>
                  <a:cubicBezTo>
                    <a:pt x="16677" y="7601"/>
                    <a:pt x="16414" y="7770"/>
                    <a:pt x="16066" y="7920"/>
                  </a:cubicBezTo>
                  <a:cubicBezTo>
                    <a:pt x="16057" y="7924"/>
                    <a:pt x="16044" y="7927"/>
                    <a:pt x="16038" y="7931"/>
                  </a:cubicBezTo>
                  <a:cubicBezTo>
                    <a:pt x="15662" y="8092"/>
                    <a:pt x="15214" y="8234"/>
                    <a:pt x="14705" y="8354"/>
                  </a:cubicBezTo>
                  <a:cubicBezTo>
                    <a:pt x="14697" y="8357"/>
                    <a:pt x="14692" y="8358"/>
                    <a:pt x="14686" y="8359"/>
                  </a:cubicBezTo>
                  <a:cubicBezTo>
                    <a:pt x="14163" y="8482"/>
                    <a:pt x="13584" y="8581"/>
                    <a:pt x="12960" y="8649"/>
                  </a:cubicBezTo>
                  <a:cubicBezTo>
                    <a:pt x="12279" y="8726"/>
                    <a:pt x="11560" y="8774"/>
                    <a:pt x="10800" y="8774"/>
                  </a:cubicBezTo>
                  <a:cubicBezTo>
                    <a:pt x="10037" y="8774"/>
                    <a:pt x="9318" y="8726"/>
                    <a:pt x="8640" y="8649"/>
                  </a:cubicBezTo>
                  <a:cubicBezTo>
                    <a:pt x="8016" y="8581"/>
                    <a:pt x="7435" y="8482"/>
                    <a:pt x="6914" y="8359"/>
                  </a:cubicBezTo>
                  <a:cubicBezTo>
                    <a:pt x="6908" y="8358"/>
                    <a:pt x="6901" y="8357"/>
                    <a:pt x="6893" y="8354"/>
                  </a:cubicBezTo>
                  <a:cubicBezTo>
                    <a:pt x="6385" y="8234"/>
                    <a:pt x="5937" y="8092"/>
                    <a:pt x="5562" y="7931"/>
                  </a:cubicBezTo>
                  <a:cubicBezTo>
                    <a:pt x="5553" y="7927"/>
                    <a:pt x="5541" y="7924"/>
                    <a:pt x="5531" y="7920"/>
                  </a:cubicBezTo>
                  <a:cubicBezTo>
                    <a:pt x="5184" y="7770"/>
                    <a:pt x="4921" y="7601"/>
                    <a:pt x="4715" y="7423"/>
                  </a:cubicBezTo>
                  <a:cubicBezTo>
                    <a:pt x="4676" y="7387"/>
                    <a:pt x="4644" y="7352"/>
                    <a:pt x="4612" y="7316"/>
                  </a:cubicBezTo>
                  <a:cubicBezTo>
                    <a:pt x="4437" y="7136"/>
                    <a:pt x="4320" y="6947"/>
                    <a:pt x="4320" y="6750"/>
                  </a:cubicBezTo>
                  <a:cubicBezTo>
                    <a:pt x="4320" y="6550"/>
                    <a:pt x="4437" y="6362"/>
                    <a:pt x="4612" y="6181"/>
                  </a:cubicBezTo>
                  <a:cubicBezTo>
                    <a:pt x="4644" y="6146"/>
                    <a:pt x="4676" y="6110"/>
                    <a:pt x="4715" y="6076"/>
                  </a:cubicBezTo>
                  <a:cubicBezTo>
                    <a:pt x="4921" y="5898"/>
                    <a:pt x="5184" y="5729"/>
                    <a:pt x="5531" y="5577"/>
                  </a:cubicBezTo>
                  <a:cubicBezTo>
                    <a:pt x="5541" y="5574"/>
                    <a:pt x="5553" y="5571"/>
                    <a:pt x="5562" y="5567"/>
                  </a:cubicBezTo>
                  <a:cubicBezTo>
                    <a:pt x="5937" y="5407"/>
                    <a:pt x="6385" y="5264"/>
                    <a:pt x="6893" y="5144"/>
                  </a:cubicBezTo>
                  <a:cubicBezTo>
                    <a:pt x="6901" y="5142"/>
                    <a:pt x="6908" y="5140"/>
                    <a:pt x="6914" y="5138"/>
                  </a:cubicBezTo>
                  <a:cubicBezTo>
                    <a:pt x="7435" y="5017"/>
                    <a:pt x="8016" y="4918"/>
                    <a:pt x="8640" y="4848"/>
                  </a:cubicBezTo>
                  <a:cubicBezTo>
                    <a:pt x="9318" y="4773"/>
                    <a:pt x="10037" y="4725"/>
                    <a:pt x="10800" y="4725"/>
                  </a:cubicBezTo>
                  <a:cubicBezTo>
                    <a:pt x="11560" y="4725"/>
                    <a:pt x="12279" y="4773"/>
                    <a:pt x="12960" y="4848"/>
                  </a:cubicBezTo>
                  <a:cubicBezTo>
                    <a:pt x="13584" y="4918"/>
                    <a:pt x="14163" y="5017"/>
                    <a:pt x="14686" y="5138"/>
                  </a:cubicBezTo>
                  <a:cubicBezTo>
                    <a:pt x="14692" y="5140"/>
                    <a:pt x="14697" y="5142"/>
                    <a:pt x="14705" y="5144"/>
                  </a:cubicBezTo>
                  <a:cubicBezTo>
                    <a:pt x="15214" y="5264"/>
                    <a:pt x="15662" y="5407"/>
                    <a:pt x="16038" y="5567"/>
                  </a:cubicBezTo>
                  <a:cubicBezTo>
                    <a:pt x="16044" y="5571"/>
                    <a:pt x="16057" y="5574"/>
                    <a:pt x="16066" y="5577"/>
                  </a:cubicBezTo>
                  <a:cubicBezTo>
                    <a:pt x="16414" y="5729"/>
                    <a:pt x="16677" y="5898"/>
                    <a:pt x="16883" y="6076"/>
                  </a:cubicBezTo>
                  <a:cubicBezTo>
                    <a:pt x="16923" y="6110"/>
                    <a:pt x="16954" y="6146"/>
                    <a:pt x="16988" y="6181"/>
                  </a:cubicBezTo>
                  <a:cubicBezTo>
                    <a:pt x="17161" y="6362"/>
                    <a:pt x="17280" y="6550"/>
                    <a:pt x="17280" y="6750"/>
                  </a:cubicBezTo>
                  <a:cubicBezTo>
                    <a:pt x="17280" y="6947"/>
                    <a:pt x="17161" y="7136"/>
                    <a:pt x="16988" y="7316"/>
                  </a:cubicBezTo>
                  <a:moveTo>
                    <a:pt x="12960" y="19575"/>
                  </a:moveTo>
                  <a:cubicBezTo>
                    <a:pt x="12960" y="19948"/>
                    <a:pt x="11992" y="20249"/>
                    <a:pt x="10800" y="20249"/>
                  </a:cubicBezTo>
                  <a:cubicBezTo>
                    <a:pt x="9606" y="20249"/>
                    <a:pt x="8640" y="19948"/>
                    <a:pt x="8640" y="19575"/>
                  </a:cubicBezTo>
                  <a:lnTo>
                    <a:pt x="8640" y="10056"/>
                  </a:lnTo>
                  <a:cubicBezTo>
                    <a:pt x="9338" y="10101"/>
                    <a:pt x="10059" y="10124"/>
                    <a:pt x="10800" y="10124"/>
                  </a:cubicBezTo>
                  <a:cubicBezTo>
                    <a:pt x="11541" y="10124"/>
                    <a:pt x="12262" y="10101"/>
                    <a:pt x="12960" y="10056"/>
                  </a:cubicBezTo>
                  <a:cubicBezTo>
                    <a:pt x="12960" y="10056"/>
                    <a:pt x="12960" y="19575"/>
                    <a:pt x="12960" y="19575"/>
                  </a:cubicBezTo>
                  <a:close/>
                  <a:moveTo>
                    <a:pt x="8640" y="2025"/>
                  </a:moveTo>
                  <a:cubicBezTo>
                    <a:pt x="8640" y="1651"/>
                    <a:pt x="9606" y="1350"/>
                    <a:pt x="10800" y="1350"/>
                  </a:cubicBezTo>
                  <a:cubicBezTo>
                    <a:pt x="11992" y="1350"/>
                    <a:pt x="12960" y="1651"/>
                    <a:pt x="12960" y="2025"/>
                  </a:cubicBezTo>
                  <a:lnTo>
                    <a:pt x="12960" y="3442"/>
                  </a:lnTo>
                  <a:cubicBezTo>
                    <a:pt x="12262" y="3398"/>
                    <a:pt x="11541" y="3375"/>
                    <a:pt x="10800" y="3375"/>
                  </a:cubicBezTo>
                  <a:cubicBezTo>
                    <a:pt x="10059" y="3375"/>
                    <a:pt x="9338" y="3398"/>
                    <a:pt x="8640" y="3442"/>
                  </a:cubicBezTo>
                  <a:cubicBezTo>
                    <a:pt x="8640" y="3442"/>
                    <a:pt x="8640" y="2025"/>
                    <a:pt x="8640" y="2025"/>
                  </a:cubicBezTo>
                  <a:close/>
                  <a:moveTo>
                    <a:pt x="17280" y="4064"/>
                  </a:moveTo>
                  <a:lnTo>
                    <a:pt x="17280" y="2025"/>
                  </a:lnTo>
                  <a:cubicBezTo>
                    <a:pt x="17280" y="908"/>
                    <a:pt x="14373" y="0"/>
                    <a:pt x="10800" y="0"/>
                  </a:cubicBezTo>
                  <a:cubicBezTo>
                    <a:pt x="7225" y="0"/>
                    <a:pt x="4320" y="908"/>
                    <a:pt x="4320" y="2025"/>
                  </a:cubicBezTo>
                  <a:lnTo>
                    <a:pt x="4320" y="4064"/>
                  </a:lnTo>
                  <a:cubicBezTo>
                    <a:pt x="1710" y="4681"/>
                    <a:pt x="0" y="5649"/>
                    <a:pt x="0" y="6750"/>
                  </a:cubicBezTo>
                  <a:cubicBezTo>
                    <a:pt x="0" y="7850"/>
                    <a:pt x="1710" y="8818"/>
                    <a:pt x="4320" y="9434"/>
                  </a:cubicBezTo>
                  <a:lnTo>
                    <a:pt x="4320" y="19575"/>
                  </a:lnTo>
                  <a:cubicBezTo>
                    <a:pt x="4320" y="20691"/>
                    <a:pt x="7225" y="21599"/>
                    <a:pt x="10800" y="21599"/>
                  </a:cubicBezTo>
                  <a:cubicBezTo>
                    <a:pt x="14373" y="21599"/>
                    <a:pt x="17280" y="20691"/>
                    <a:pt x="17280" y="19575"/>
                  </a:cubicBezTo>
                  <a:lnTo>
                    <a:pt x="17280" y="9434"/>
                  </a:lnTo>
                  <a:cubicBezTo>
                    <a:pt x="19889" y="8818"/>
                    <a:pt x="21600" y="7850"/>
                    <a:pt x="21600" y="6750"/>
                  </a:cubicBezTo>
                  <a:cubicBezTo>
                    <a:pt x="21600" y="5649"/>
                    <a:pt x="19889" y="4681"/>
                    <a:pt x="17280" y="406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45" tIns="19045" rIns="19045" bIns="19045" anchor="ctr"/>
            <a:lstStyle/>
            <a:p>
              <a:pPr algn="ctr" defTabSz="228543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50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Gill Sans" charset="0"/>
                <a:sym typeface="Gill Sans" charset="0"/>
              </a:endParaRPr>
            </a:p>
          </p:txBody>
        </p:sp>
        <p:sp>
          <p:nvSpPr>
            <p:cNvPr id="210" name="AutoShape 58">
              <a:extLst>
                <a:ext uri="{FF2B5EF4-FFF2-40B4-BE49-F238E27FC236}">
                  <a16:creationId xmlns:a16="http://schemas.microsoft.com/office/drawing/2014/main" xmlns="" id="{0379C964-9D2E-4B34-AF51-980BED53B7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435173" y="3045147"/>
              <a:ext cx="145257" cy="464344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16988" y="15416"/>
                  </a:moveTo>
                  <a:cubicBezTo>
                    <a:pt x="16954" y="15452"/>
                    <a:pt x="16923" y="15487"/>
                    <a:pt x="16883" y="15523"/>
                  </a:cubicBezTo>
                  <a:cubicBezTo>
                    <a:pt x="16677" y="15701"/>
                    <a:pt x="16414" y="15870"/>
                    <a:pt x="16066" y="16020"/>
                  </a:cubicBezTo>
                  <a:cubicBezTo>
                    <a:pt x="16057" y="16024"/>
                    <a:pt x="16044" y="16027"/>
                    <a:pt x="16038" y="16031"/>
                  </a:cubicBezTo>
                  <a:cubicBezTo>
                    <a:pt x="15662" y="16192"/>
                    <a:pt x="15214" y="16334"/>
                    <a:pt x="14705" y="16454"/>
                  </a:cubicBezTo>
                  <a:cubicBezTo>
                    <a:pt x="14697" y="16457"/>
                    <a:pt x="14692" y="16458"/>
                    <a:pt x="14686" y="16459"/>
                  </a:cubicBezTo>
                  <a:cubicBezTo>
                    <a:pt x="14163" y="16582"/>
                    <a:pt x="13584" y="16681"/>
                    <a:pt x="12960" y="16749"/>
                  </a:cubicBezTo>
                  <a:cubicBezTo>
                    <a:pt x="12279" y="16826"/>
                    <a:pt x="11560" y="16875"/>
                    <a:pt x="10800" y="16875"/>
                  </a:cubicBezTo>
                  <a:cubicBezTo>
                    <a:pt x="10037" y="16875"/>
                    <a:pt x="9318" y="16826"/>
                    <a:pt x="8640" y="16749"/>
                  </a:cubicBezTo>
                  <a:cubicBezTo>
                    <a:pt x="8016" y="16681"/>
                    <a:pt x="7435" y="16582"/>
                    <a:pt x="6914" y="16459"/>
                  </a:cubicBezTo>
                  <a:cubicBezTo>
                    <a:pt x="6908" y="16458"/>
                    <a:pt x="6901" y="16457"/>
                    <a:pt x="6893" y="16454"/>
                  </a:cubicBezTo>
                  <a:cubicBezTo>
                    <a:pt x="6385" y="16334"/>
                    <a:pt x="5937" y="16192"/>
                    <a:pt x="5562" y="16031"/>
                  </a:cubicBezTo>
                  <a:cubicBezTo>
                    <a:pt x="5553" y="16027"/>
                    <a:pt x="5541" y="16024"/>
                    <a:pt x="5531" y="16020"/>
                  </a:cubicBezTo>
                  <a:cubicBezTo>
                    <a:pt x="5184" y="15870"/>
                    <a:pt x="4921" y="15701"/>
                    <a:pt x="4715" y="15523"/>
                  </a:cubicBezTo>
                  <a:cubicBezTo>
                    <a:pt x="4676" y="15487"/>
                    <a:pt x="4644" y="15452"/>
                    <a:pt x="4612" y="15416"/>
                  </a:cubicBezTo>
                  <a:cubicBezTo>
                    <a:pt x="4437" y="15236"/>
                    <a:pt x="4320" y="15047"/>
                    <a:pt x="4320" y="14850"/>
                  </a:cubicBezTo>
                  <a:cubicBezTo>
                    <a:pt x="4320" y="14650"/>
                    <a:pt x="4437" y="14462"/>
                    <a:pt x="4612" y="14281"/>
                  </a:cubicBezTo>
                  <a:cubicBezTo>
                    <a:pt x="4644" y="14246"/>
                    <a:pt x="4676" y="14210"/>
                    <a:pt x="4715" y="14176"/>
                  </a:cubicBezTo>
                  <a:cubicBezTo>
                    <a:pt x="4921" y="13998"/>
                    <a:pt x="5184" y="13829"/>
                    <a:pt x="5531" y="13677"/>
                  </a:cubicBezTo>
                  <a:cubicBezTo>
                    <a:pt x="5541" y="13674"/>
                    <a:pt x="5553" y="13671"/>
                    <a:pt x="5562" y="13667"/>
                  </a:cubicBezTo>
                  <a:cubicBezTo>
                    <a:pt x="5937" y="13507"/>
                    <a:pt x="6385" y="13364"/>
                    <a:pt x="6893" y="13244"/>
                  </a:cubicBezTo>
                  <a:cubicBezTo>
                    <a:pt x="6901" y="13242"/>
                    <a:pt x="6908" y="13240"/>
                    <a:pt x="6914" y="13238"/>
                  </a:cubicBezTo>
                  <a:cubicBezTo>
                    <a:pt x="7435" y="13117"/>
                    <a:pt x="8016" y="13018"/>
                    <a:pt x="8640" y="12948"/>
                  </a:cubicBezTo>
                  <a:cubicBezTo>
                    <a:pt x="9318" y="12873"/>
                    <a:pt x="10037" y="12825"/>
                    <a:pt x="10800" y="12825"/>
                  </a:cubicBezTo>
                  <a:cubicBezTo>
                    <a:pt x="11560" y="12825"/>
                    <a:pt x="12279" y="12873"/>
                    <a:pt x="12960" y="12948"/>
                  </a:cubicBezTo>
                  <a:cubicBezTo>
                    <a:pt x="13584" y="13018"/>
                    <a:pt x="14163" y="13117"/>
                    <a:pt x="14686" y="13238"/>
                  </a:cubicBezTo>
                  <a:cubicBezTo>
                    <a:pt x="14692" y="13240"/>
                    <a:pt x="14697" y="13242"/>
                    <a:pt x="14705" y="13244"/>
                  </a:cubicBezTo>
                  <a:cubicBezTo>
                    <a:pt x="15214" y="13364"/>
                    <a:pt x="15662" y="13507"/>
                    <a:pt x="16038" y="13667"/>
                  </a:cubicBezTo>
                  <a:cubicBezTo>
                    <a:pt x="16044" y="13671"/>
                    <a:pt x="16057" y="13674"/>
                    <a:pt x="16066" y="13677"/>
                  </a:cubicBezTo>
                  <a:cubicBezTo>
                    <a:pt x="16414" y="13829"/>
                    <a:pt x="16677" y="13998"/>
                    <a:pt x="16883" y="14176"/>
                  </a:cubicBezTo>
                  <a:cubicBezTo>
                    <a:pt x="16923" y="14210"/>
                    <a:pt x="16954" y="14246"/>
                    <a:pt x="16988" y="14281"/>
                  </a:cubicBezTo>
                  <a:cubicBezTo>
                    <a:pt x="17161" y="14462"/>
                    <a:pt x="17280" y="14650"/>
                    <a:pt x="17280" y="14850"/>
                  </a:cubicBezTo>
                  <a:cubicBezTo>
                    <a:pt x="17280" y="15047"/>
                    <a:pt x="17161" y="15236"/>
                    <a:pt x="16988" y="15416"/>
                  </a:cubicBezTo>
                  <a:moveTo>
                    <a:pt x="12960" y="19575"/>
                  </a:moveTo>
                  <a:cubicBezTo>
                    <a:pt x="12960" y="19948"/>
                    <a:pt x="11992" y="20249"/>
                    <a:pt x="10800" y="20249"/>
                  </a:cubicBezTo>
                  <a:cubicBezTo>
                    <a:pt x="9606" y="20249"/>
                    <a:pt x="8640" y="19948"/>
                    <a:pt x="8640" y="19575"/>
                  </a:cubicBezTo>
                  <a:lnTo>
                    <a:pt x="8640" y="18156"/>
                  </a:lnTo>
                  <a:cubicBezTo>
                    <a:pt x="9338" y="18201"/>
                    <a:pt x="10059" y="18225"/>
                    <a:pt x="10800" y="18225"/>
                  </a:cubicBezTo>
                  <a:cubicBezTo>
                    <a:pt x="11541" y="18225"/>
                    <a:pt x="12262" y="18201"/>
                    <a:pt x="12960" y="18156"/>
                  </a:cubicBezTo>
                  <a:cubicBezTo>
                    <a:pt x="12960" y="18156"/>
                    <a:pt x="12960" y="19575"/>
                    <a:pt x="12960" y="19575"/>
                  </a:cubicBezTo>
                  <a:close/>
                  <a:moveTo>
                    <a:pt x="8640" y="2025"/>
                  </a:moveTo>
                  <a:cubicBezTo>
                    <a:pt x="8640" y="1651"/>
                    <a:pt x="9606" y="1350"/>
                    <a:pt x="10800" y="1350"/>
                  </a:cubicBezTo>
                  <a:cubicBezTo>
                    <a:pt x="11992" y="1350"/>
                    <a:pt x="12960" y="1651"/>
                    <a:pt x="12960" y="2025"/>
                  </a:cubicBezTo>
                  <a:lnTo>
                    <a:pt x="12960" y="11542"/>
                  </a:lnTo>
                  <a:cubicBezTo>
                    <a:pt x="12262" y="11498"/>
                    <a:pt x="11541" y="11475"/>
                    <a:pt x="10800" y="11475"/>
                  </a:cubicBezTo>
                  <a:cubicBezTo>
                    <a:pt x="10059" y="11475"/>
                    <a:pt x="9338" y="11498"/>
                    <a:pt x="8640" y="11542"/>
                  </a:cubicBezTo>
                  <a:cubicBezTo>
                    <a:pt x="8640" y="11542"/>
                    <a:pt x="8640" y="2025"/>
                    <a:pt x="8640" y="2025"/>
                  </a:cubicBezTo>
                  <a:close/>
                  <a:moveTo>
                    <a:pt x="17280" y="12164"/>
                  </a:moveTo>
                  <a:lnTo>
                    <a:pt x="17280" y="2025"/>
                  </a:lnTo>
                  <a:cubicBezTo>
                    <a:pt x="17280" y="908"/>
                    <a:pt x="14373" y="0"/>
                    <a:pt x="10800" y="0"/>
                  </a:cubicBezTo>
                  <a:cubicBezTo>
                    <a:pt x="7225" y="0"/>
                    <a:pt x="4320" y="908"/>
                    <a:pt x="4320" y="2025"/>
                  </a:cubicBezTo>
                  <a:lnTo>
                    <a:pt x="4320" y="12164"/>
                  </a:lnTo>
                  <a:cubicBezTo>
                    <a:pt x="1710" y="12781"/>
                    <a:pt x="0" y="13749"/>
                    <a:pt x="0" y="14850"/>
                  </a:cubicBezTo>
                  <a:cubicBezTo>
                    <a:pt x="0" y="15950"/>
                    <a:pt x="1710" y="16918"/>
                    <a:pt x="4320" y="17534"/>
                  </a:cubicBezTo>
                  <a:lnTo>
                    <a:pt x="4320" y="19575"/>
                  </a:lnTo>
                  <a:cubicBezTo>
                    <a:pt x="4320" y="20691"/>
                    <a:pt x="7225" y="21599"/>
                    <a:pt x="10800" y="21599"/>
                  </a:cubicBezTo>
                  <a:cubicBezTo>
                    <a:pt x="14373" y="21599"/>
                    <a:pt x="17280" y="20691"/>
                    <a:pt x="17280" y="19575"/>
                  </a:cubicBezTo>
                  <a:lnTo>
                    <a:pt x="17280" y="17534"/>
                  </a:lnTo>
                  <a:cubicBezTo>
                    <a:pt x="19889" y="16918"/>
                    <a:pt x="21600" y="15950"/>
                    <a:pt x="21600" y="14850"/>
                  </a:cubicBezTo>
                  <a:cubicBezTo>
                    <a:pt x="21600" y="13749"/>
                    <a:pt x="19889" y="12781"/>
                    <a:pt x="17280" y="1216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45" tIns="19045" rIns="19045" bIns="19045" anchor="ctr"/>
            <a:lstStyle/>
            <a:p>
              <a:pPr algn="ctr" defTabSz="228543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50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Gill Sans" charset="0"/>
                <a:sym typeface="Gill Sans" charset="0"/>
              </a:endParaRPr>
            </a:p>
          </p:txBody>
        </p:sp>
      </p:grpSp>
      <p:sp>
        <p:nvSpPr>
          <p:cNvPr id="211" name="Rectangle 30">
            <a:extLst>
              <a:ext uri="{FF2B5EF4-FFF2-40B4-BE49-F238E27FC236}">
                <a16:creationId xmlns:a16="http://schemas.microsoft.com/office/drawing/2014/main" xmlns="" id="{FF053112-5730-4E07-9136-8094E868B343}"/>
              </a:ext>
            </a:extLst>
          </p:cNvPr>
          <p:cNvSpPr/>
          <p:nvPr/>
        </p:nvSpPr>
        <p:spPr>
          <a:xfrm>
            <a:off x="8003427" y="2873085"/>
            <a:ext cx="1166233" cy="234393"/>
          </a:xfrm>
          <a:prstGeom prst="rect">
            <a:avLst/>
          </a:prstGeom>
          <a:solidFill>
            <a:schemeClr val="bg1"/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200" dirty="0">
              <a:solidFill>
                <a:schemeClr val="accent1"/>
              </a:solidFill>
            </a:endParaRPr>
          </a:p>
        </p:txBody>
      </p:sp>
      <p:sp>
        <p:nvSpPr>
          <p:cNvPr id="212" name="TextBox 211">
            <a:extLst>
              <a:ext uri="{FF2B5EF4-FFF2-40B4-BE49-F238E27FC236}">
                <a16:creationId xmlns:a16="http://schemas.microsoft.com/office/drawing/2014/main" xmlns="" id="{CE09CC1C-DB8B-4ACC-BE98-394CF31A94DE}"/>
              </a:ext>
            </a:extLst>
          </p:cNvPr>
          <p:cNvSpPr txBox="1"/>
          <p:nvPr/>
        </p:nvSpPr>
        <p:spPr>
          <a:xfrm>
            <a:off x="8412357" y="2834788"/>
            <a:ext cx="236777" cy="288147"/>
          </a:xfrm>
          <a:prstGeom prst="rect">
            <a:avLst/>
          </a:prstGeom>
          <a:noFill/>
        </p:spPr>
        <p:txBody>
          <a:bodyPr wrap="none" lIns="72000" tIns="36000" rIns="72000" bIns="36000" rtlCol="0" anchor="b">
            <a:spAutoFit/>
          </a:bodyPr>
          <a:lstStyle/>
          <a:p>
            <a:pPr algn="ctr"/>
            <a:r>
              <a:rPr lang="ru-RU" sz="1400" dirty="0" smtClean="0">
                <a:solidFill>
                  <a:schemeClr val="accent2">
                    <a:lumMod val="75000"/>
                  </a:schemeClr>
                </a:solidFill>
                <a:latin typeface="+mj-lt"/>
              </a:rPr>
              <a:t>1</a:t>
            </a:r>
            <a:endParaRPr lang="id-ID" sz="1400" dirty="0">
              <a:solidFill>
                <a:schemeClr val="accent2">
                  <a:lumMod val="7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1198578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Default New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085B4"/>
      </a:accent1>
      <a:accent2>
        <a:srgbClr val="10A092"/>
      </a:accent2>
      <a:accent3>
        <a:srgbClr val="8BBD49"/>
      </a:accent3>
      <a:accent4>
        <a:srgbClr val="E28700"/>
      </a:accent4>
      <a:accent5>
        <a:srgbClr val="CD431D"/>
      </a:accent5>
      <a:accent6>
        <a:srgbClr val="002060"/>
      </a:accent6>
      <a:hlink>
        <a:srgbClr val="F49100"/>
      </a:hlink>
      <a:folHlink>
        <a:srgbClr val="85DFD0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19</TotalTime>
  <Words>528</Words>
  <Application>Microsoft Office PowerPoint</Application>
  <PresentationFormat>Произвольный</PresentationFormat>
  <Paragraphs>139</Paragraphs>
  <Slides>7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9" baseType="lpstr">
      <vt:lpstr>Office Them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Остапенко Григорий Александрович</dc:creator>
  <cp:lastModifiedBy>Остапенко Григорий Александрович</cp:lastModifiedBy>
  <cp:revision>179</cp:revision>
  <cp:lastPrinted>2020-10-14T08:48:48Z</cp:lastPrinted>
  <dcterms:modified xsi:type="dcterms:W3CDTF">2021-02-18T06:01:16Z</dcterms:modified>
</cp:coreProperties>
</file>